
<file path=[Content_Types].xml><?xml version="1.0" encoding="utf-8"?>
<Types xmlns="http://schemas.openxmlformats.org/package/2006/content-types">
  <Default Extension="bin" ContentType="image/jpeg"/>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media/image5.bin" ContentType="image/png"/>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6.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7.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3.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4.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6.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removePersonalInfoOnSave="1" saveSubsetFonts="1">
  <p:sldMasterIdLst>
    <p:sldMasterId id="2147483990" r:id="rId4"/>
  </p:sldMasterIdLst>
  <p:notesMasterIdLst>
    <p:notesMasterId r:id="rId34"/>
  </p:notesMasterIdLst>
  <p:sldIdLst>
    <p:sldId id="392" r:id="rId5"/>
    <p:sldId id="347" r:id="rId6"/>
    <p:sldId id="380" r:id="rId8"/>
    <p:sldId id="393" r:id="rId9"/>
    <p:sldId id="364" r:id="rId10"/>
    <p:sldId id="405" r:id="rId11"/>
    <p:sldId id="399" r:id="rId12"/>
    <p:sldId id="406" r:id="rId13"/>
    <p:sldId id="423" r:id="rId14"/>
    <p:sldId id="409" r:id="rId15"/>
    <p:sldId id="431" r:id="rId16"/>
    <p:sldId id="432" r:id="rId17"/>
    <p:sldId id="433" r:id="rId18"/>
    <p:sldId id="416" r:id="rId19"/>
    <p:sldId id="420" r:id="rId20"/>
    <p:sldId id="421" r:id="rId21"/>
    <p:sldId id="422" r:id="rId22"/>
    <p:sldId id="419" r:id="rId23"/>
    <p:sldId id="410" r:id="rId24"/>
    <p:sldId id="412" r:id="rId25"/>
    <p:sldId id="411" r:id="rId26"/>
    <p:sldId id="413" r:id="rId27"/>
    <p:sldId id="415" r:id="rId28"/>
    <p:sldId id="414" r:id="rId29"/>
    <p:sldId id="395" r:id="rId31"/>
    <p:sldId id="379" r:id="rId32"/>
    <p:sldId id="397" r:id="rId33"/>
  </p:sldIdLst>
  <p:sldSz cx="12192000" cy="6858000"/>
  <p:notesSz cx="6858000" cy="9144000"/>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ront Covers" id="{F9CFC184-155B-E049-91DD-657CF176FCB1}">
          <p14:sldIdLst>
            <p14:sldId id="392"/>
            <p14:sldId id="347"/>
            <p14:sldId id="390"/>
          </p14:sldIdLst>
        </p14:section>
        <p14:section name="Content pages" id="{7E28E96D-50B7-3247-AD53-91BDC15BF350}">
          <p14:sldIdLst>
            <p14:sldId id="380"/>
            <p14:sldId id="393"/>
            <p14:sldId id="364"/>
            <p14:sldId id="405"/>
            <p14:sldId id="399"/>
            <p14:sldId id="406"/>
            <p14:sldId id="423"/>
            <p14:sldId id="409"/>
            <p14:sldId id="431"/>
            <p14:sldId id="432"/>
            <p14:sldId id="433"/>
            <p14:sldId id="416"/>
            <p14:sldId id="420"/>
            <p14:sldId id="421"/>
            <p14:sldId id="422"/>
            <p14:sldId id="419"/>
            <p14:sldId id="410"/>
            <p14:sldId id="412"/>
            <p14:sldId id="411"/>
            <p14:sldId id="413"/>
            <p14:sldId id="415"/>
            <p14:sldId id="414"/>
            <p14:sldId id="394"/>
            <p14:sldId id="395"/>
            <p14:sldId id="379"/>
            <p14:sldId id="39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0327B97-C65C-4692-840B-6FB8D231C454}" v="172" dt="2021-06-30T17:58:06.374"/>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35" autoAdjust="0"/>
    <p:restoredTop sz="85008" autoAdjust="0"/>
  </p:normalViewPr>
  <p:slideViewPr>
    <p:cSldViewPr snapToGrid="0">
      <p:cViewPr varScale="1">
        <p:scale>
          <a:sx n="158" d="100"/>
          <a:sy n="158" d="100"/>
        </p:scale>
        <p:origin x="76" y="96"/>
      </p:cViewPr>
      <p:guideLst/>
    </p:cSldViewPr>
  </p:slideViewPr>
  <p:outlineViewPr>
    <p:cViewPr>
      <p:scale>
        <a:sx n="33" d="100"/>
        <a:sy n="33" d="100"/>
      </p:scale>
      <p:origin x="0" y="-33744"/>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9.xml" Id="rId13" /><Relationship Type="http://schemas.openxmlformats.org/officeDocument/2006/relationships/slide" Target="slides/slide14.xml" Id="rId18" /><Relationship Type="http://schemas.openxmlformats.org/officeDocument/2006/relationships/slide" Target="slides/slide22.xml" Id="rId26" /><Relationship Type="http://schemas.openxmlformats.org/officeDocument/2006/relationships/tableStyles" Target="tableStyles.xml" Id="rId39" /><Relationship Type="http://schemas.openxmlformats.org/officeDocument/2006/relationships/slide" Target="slides/slide17.xml" Id="rId21" /><Relationship Type="http://schemas.openxmlformats.org/officeDocument/2006/relationships/notesMaster" Target="notesMasters/notesMaster1.xml" Id="rId34" /><Relationship Type="http://schemas.openxmlformats.org/officeDocument/2006/relationships/slide" Target="slides/slide8.xml" Id="rId12" /><Relationship Type="http://schemas.openxmlformats.org/officeDocument/2006/relationships/slide" Target="slides/slide13.xml" Id="rId17" /><Relationship Type="http://schemas.openxmlformats.org/officeDocument/2006/relationships/slide" Target="slides/slide21.xml" Id="rId25" /><Relationship Type="http://schemas.openxmlformats.org/officeDocument/2006/relationships/slide" Target="slides/slide29.xml" Id="rId33" /><Relationship Type="http://schemas.openxmlformats.org/officeDocument/2006/relationships/theme" Target="theme/theme1.xml" Id="rId38" /><Relationship Type="http://schemas.openxmlformats.org/officeDocument/2006/relationships/customXml" Target="../customXml/item2.xml" Id="rId2" /><Relationship Type="http://schemas.openxmlformats.org/officeDocument/2006/relationships/slide" Target="slides/slide12.xml" Id="rId16" /><Relationship Type="http://schemas.openxmlformats.org/officeDocument/2006/relationships/slide" Target="slides/slide16.xml" Id="rId20" /><Relationship Type="http://schemas.openxmlformats.org/officeDocument/2006/relationships/slide" Target="slides/slide25.xml" Id="rId29" /><Relationship Type="http://schemas.openxmlformats.org/officeDocument/2006/relationships/customXml" Target="../customXml/item1.xml" Id="rId1" /><Relationship Type="http://schemas.openxmlformats.org/officeDocument/2006/relationships/slide" Target="slides/slide2.xml" Id="rId6" /><Relationship Type="http://schemas.openxmlformats.org/officeDocument/2006/relationships/slide" Target="slides/slide7.xml" Id="rId11" /><Relationship Type="http://schemas.openxmlformats.org/officeDocument/2006/relationships/slide" Target="slides/slide20.xml" Id="rId24" /><Relationship Type="http://schemas.openxmlformats.org/officeDocument/2006/relationships/slide" Target="slides/slide28.xml" Id="rId32" /><Relationship Type="http://schemas.openxmlformats.org/officeDocument/2006/relationships/viewProps" Target="viewProps.xml" Id="rId37" /><Relationship Type="http://schemas.microsoft.com/office/2015/10/relationships/revisionInfo" Target="revisionInfo.xml" Id="rId40" /><Relationship Type="http://schemas.openxmlformats.org/officeDocument/2006/relationships/slide" Target="slides/slide1.xml" Id="rId5" /><Relationship Type="http://schemas.openxmlformats.org/officeDocument/2006/relationships/slide" Target="slides/slide11.xml" Id="rId15" /><Relationship Type="http://schemas.openxmlformats.org/officeDocument/2006/relationships/slide" Target="slides/slide19.xml" Id="rId23" /><Relationship Type="http://schemas.openxmlformats.org/officeDocument/2006/relationships/slide" Target="slides/slide24.xml" Id="rId28" /><Relationship Type="http://schemas.openxmlformats.org/officeDocument/2006/relationships/presProps" Target="presProps.xml" Id="rId36" /><Relationship Type="http://schemas.openxmlformats.org/officeDocument/2006/relationships/slide" Target="slides/slide6.xml" Id="rId10" /><Relationship Type="http://schemas.openxmlformats.org/officeDocument/2006/relationships/slide" Target="slides/slide15.xml" Id="rId19" /><Relationship Type="http://schemas.openxmlformats.org/officeDocument/2006/relationships/slide" Target="slides/slide27.xml" Id="rId31" /><Relationship Type="http://schemas.openxmlformats.org/officeDocument/2006/relationships/slideMaster" Target="slideMasters/slideMaster1.xml" Id="rId4" /><Relationship Type="http://schemas.openxmlformats.org/officeDocument/2006/relationships/slide" Target="slides/slide5.xml" Id="rId9" /><Relationship Type="http://schemas.openxmlformats.org/officeDocument/2006/relationships/slide" Target="slides/slide10.xml" Id="rId14" /><Relationship Type="http://schemas.openxmlformats.org/officeDocument/2006/relationships/slide" Target="slides/slide18.xml" Id="rId22" /><Relationship Type="http://schemas.openxmlformats.org/officeDocument/2006/relationships/slide" Target="slides/slide23.xml" Id="rId27" /><Relationship Type="http://schemas.openxmlformats.org/officeDocument/2006/relationships/tags" Target="tags/tag1.xml" Id="rId35" /><Relationship Type="http://schemas.openxmlformats.org/officeDocument/2006/relationships/slide" Target="slides/slide4.xml" Id="rId8" /><Relationship Type="http://schemas.openxmlformats.org/officeDocument/2006/relationships/customXml" Target="../customXml/item3.xml" Id="rId3" /></Relationships>
</file>

<file path=ppt/diagrams/_rels/data2.xml.rels><?xml version="1.0" encoding="UTF-8" standalone="yes"?>
<Relationships xmlns="http://schemas.openxmlformats.org/package/2006/relationships"><Relationship Id="rId1" Type="http://schemas.openxmlformats.org/officeDocument/2006/relationships/hyperlink" Target="https://github.com/SharePoint/PnP-JS-Core/wiki/Batching" TargetMode="External"/></Relationships>
</file>

<file path=ppt/diagrams/_rels/data6.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svg"/><Relationship Id="rId1" Type="http://schemas.openxmlformats.org/officeDocument/2006/relationships/image" Target="../media/image11.png"/><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diagrams/_rels/data8.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svg"/><Relationship Id="rId1" Type="http://schemas.openxmlformats.org/officeDocument/2006/relationships/image" Target="../media/image19.png"/><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svg"/></Relationships>
</file>

<file path=ppt/diagrams/_rels/drawing2.xml.rels><?xml version="1.0" encoding="UTF-8" standalone="yes"?>
<Relationships xmlns="http://schemas.openxmlformats.org/package/2006/relationships"><Relationship Id="rId1" Type="http://schemas.openxmlformats.org/officeDocument/2006/relationships/hyperlink" Target="https://github.com/SharePoint/PnP-JS-Core/wiki/Batching" TargetMode="External"/></Relationships>
</file>

<file path=ppt/diagrams/_rels/drawing6.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svg"/><Relationship Id="rId1" Type="http://schemas.openxmlformats.org/officeDocument/2006/relationships/image" Target="../media/image11.png"/><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diagrams/_rels/drawing8.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svg"/><Relationship Id="rId1" Type="http://schemas.openxmlformats.org/officeDocument/2006/relationships/image" Target="../media/image19.png"/><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52B8029-77E7-4247-A310-AD91BDFDACEC}" type="doc">
      <dgm:prSet loTypeId="urn:microsoft.com/office/officeart/2005/8/layout/hierarchy4" loCatId="hierarchy" qsTypeId="urn:microsoft.com/office/officeart/2005/8/quickstyle/simple1" qsCatId="simple" csTypeId="urn:microsoft.com/office/officeart/2005/8/colors/accent1_2" csCatId="accent1"/>
      <dgm:spPr/>
      <dgm:t>
        <a:bodyPr/>
        <a:lstStyle/>
        <a:p>
          <a:endParaRPr lang="en-US"/>
        </a:p>
      </dgm:t>
    </dgm:pt>
    <dgm:pt modelId="{E30F2390-7921-4D03-A272-F37B9C5347CC}">
      <dgm:prSet custT="1"/>
      <dgm:spPr/>
      <dgm:t>
        <a:bodyPr/>
        <a:lstStyle/>
        <a:p>
          <a:r>
            <a:rPr lang="en-US" sz="2800" dirty="0"/>
            <a:t>JavaScript code making too many JSON and REST API calls to SharePoint Online</a:t>
          </a:r>
        </a:p>
      </dgm:t>
    </dgm:pt>
    <dgm:pt modelId="{BE507F07-E973-46AB-89E8-05759B45168A}" type="parTrans" cxnId="{815C1EA1-0275-4A2D-895D-699A1D2D9589}">
      <dgm:prSet/>
      <dgm:spPr/>
      <dgm:t>
        <a:bodyPr/>
        <a:lstStyle/>
        <a:p>
          <a:endParaRPr lang="en-US"/>
        </a:p>
      </dgm:t>
    </dgm:pt>
    <dgm:pt modelId="{4DB17240-DE8F-463D-929B-885B6AE8722F}" type="sibTrans" cxnId="{815C1EA1-0275-4A2D-895D-699A1D2D9589}">
      <dgm:prSet/>
      <dgm:spPr/>
      <dgm:t>
        <a:bodyPr/>
        <a:lstStyle/>
        <a:p>
          <a:endParaRPr lang="en-US"/>
        </a:p>
      </dgm:t>
    </dgm:pt>
    <dgm:pt modelId="{1885BDB4-B7F8-445D-9371-DABC972AEC08}">
      <dgm:prSet/>
      <dgm:spPr/>
      <dgm:t>
        <a:bodyPr/>
        <a:lstStyle/>
        <a:p>
          <a:r>
            <a:rPr lang="en-US"/>
            <a:t>Each call requires at least one round-trip from SharePoint Online servers to/from SQL backend servers</a:t>
          </a:r>
        </a:p>
      </dgm:t>
    </dgm:pt>
    <dgm:pt modelId="{A6DB66E2-3397-442B-B2ED-9DBC7B4B3ADA}" type="parTrans" cxnId="{E9FA8095-F3F2-441C-BE15-B824C67EB764}">
      <dgm:prSet/>
      <dgm:spPr/>
      <dgm:t>
        <a:bodyPr/>
        <a:lstStyle/>
        <a:p>
          <a:endParaRPr lang="en-US"/>
        </a:p>
      </dgm:t>
    </dgm:pt>
    <dgm:pt modelId="{741A6D46-9BC8-4A81-8D53-3D8DC20C9E40}" type="sibTrans" cxnId="{E9FA8095-F3F2-441C-BE15-B824C67EB764}">
      <dgm:prSet/>
      <dgm:spPr/>
      <dgm:t>
        <a:bodyPr/>
        <a:lstStyle/>
        <a:p>
          <a:endParaRPr lang="en-US"/>
        </a:p>
      </dgm:t>
    </dgm:pt>
    <dgm:pt modelId="{C7D8CEFF-1B86-42C1-9D01-AA9FB3CA5B05}">
      <dgm:prSet/>
      <dgm:spPr/>
      <dgm:t>
        <a:bodyPr/>
        <a:lstStyle/>
        <a:p>
          <a:r>
            <a:rPr lang="en-US" dirty="0"/>
            <a:t>Performance of these calls can vary as it depends on many factors such as complexity of the query, the number of sites a user follows or likes, and the current load on SharePoint Online.</a:t>
          </a:r>
        </a:p>
      </dgm:t>
    </dgm:pt>
    <dgm:pt modelId="{220ED3D1-9FF1-4DE0-B251-4C6BAC0289A3}" type="parTrans" cxnId="{95B5B2DA-4CD1-4936-BFB8-03AAE6E2A782}">
      <dgm:prSet/>
      <dgm:spPr/>
      <dgm:t>
        <a:bodyPr/>
        <a:lstStyle/>
        <a:p>
          <a:endParaRPr lang="en-US"/>
        </a:p>
      </dgm:t>
    </dgm:pt>
    <dgm:pt modelId="{B0C9C3E3-7209-4442-9B72-0B7FBEB084BB}" type="sibTrans" cxnId="{95B5B2DA-4CD1-4936-BFB8-03AAE6E2A782}">
      <dgm:prSet/>
      <dgm:spPr/>
      <dgm:t>
        <a:bodyPr/>
        <a:lstStyle/>
        <a:p>
          <a:endParaRPr lang="en-US"/>
        </a:p>
      </dgm:t>
    </dgm:pt>
    <dgm:pt modelId="{0EEC0CC8-93FE-4B49-A4F0-1FD9870542FC}">
      <dgm:prSet/>
      <dgm:spPr/>
      <dgm:t>
        <a:bodyPr/>
        <a:lstStyle/>
        <a:p>
          <a:r>
            <a:rPr lang="en-US"/>
            <a:t>The amount of data returned in these calls can potentially have an impact on network bandwidth</a:t>
          </a:r>
        </a:p>
      </dgm:t>
    </dgm:pt>
    <dgm:pt modelId="{665165C2-C45C-40B2-933D-AC94835B2D0B}" type="parTrans" cxnId="{15E5E02D-436D-4A91-9EB3-5FC6BF77D182}">
      <dgm:prSet/>
      <dgm:spPr/>
      <dgm:t>
        <a:bodyPr/>
        <a:lstStyle/>
        <a:p>
          <a:endParaRPr lang="en-US"/>
        </a:p>
      </dgm:t>
    </dgm:pt>
    <dgm:pt modelId="{77554000-BB64-4BE2-BB34-BDCD54314B65}" type="sibTrans" cxnId="{15E5E02D-436D-4A91-9EB3-5FC6BF77D182}">
      <dgm:prSet/>
      <dgm:spPr/>
      <dgm:t>
        <a:bodyPr/>
        <a:lstStyle/>
        <a:p>
          <a:endParaRPr lang="en-US"/>
        </a:p>
      </dgm:t>
    </dgm:pt>
    <dgm:pt modelId="{7822A065-0003-4C3E-B28B-9709B636BC73}" type="pres">
      <dgm:prSet presAssocID="{252B8029-77E7-4247-A310-AD91BDFDACEC}" presName="Name0" presStyleCnt="0">
        <dgm:presLayoutVars>
          <dgm:chPref val="1"/>
          <dgm:dir/>
          <dgm:animOne val="branch"/>
          <dgm:animLvl val="lvl"/>
          <dgm:resizeHandles/>
        </dgm:presLayoutVars>
      </dgm:prSet>
      <dgm:spPr/>
    </dgm:pt>
    <dgm:pt modelId="{36C73852-C2B5-4896-A3D8-009BAB51B932}" type="pres">
      <dgm:prSet presAssocID="{E30F2390-7921-4D03-A272-F37B9C5347CC}" presName="vertOne" presStyleCnt="0"/>
      <dgm:spPr/>
    </dgm:pt>
    <dgm:pt modelId="{BE0332F1-C6AC-45DE-81C7-60FBF86F2FB8}" type="pres">
      <dgm:prSet presAssocID="{E30F2390-7921-4D03-A272-F37B9C5347CC}" presName="txOne" presStyleLbl="node0" presStyleIdx="0" presStyleCnt="1" custLinFactY="-202" custLinFactNeighborX="-36" custLinFactNeighborY="-100000">
        <dgm:presLayoutVars>
          <dgm:chPref val="3"/>
        </dgm:presLayoutVars>
      </dgm:prSet>
      <dgm:spPr/>
    </dgm:pt>
    <dgm:pt modelId="{256373F1-4899-432F-969F-70653E68FE6E}" type="pres">
      <dgm:prSet presAssocID="{E30F2390-7921-4D03-A272-F37B9C5347CC}" presName="parTransOne" presStyleCnt="0"/>
      <dgm:spPr/>
    </dgm:pt>
    <dgm:pt modelId="{86C5E162-3A9A-484F-B3E3-727BA40D08C0}" type="pres">
      <dgm:prSet presAssocID="{E30F2390-7921-4D03-A272-F37B9C5347CC}" presName="horzOne" presStyleCnt="0"/>
      <dgm:spPr/>
    </dgm:pt>
    <dgm:pt modelId="{3B737699-1682-4EDD-A4E1-6785409F1383}" type="pres">
      <dgm:prSet presAssocID="{1885BDB4-B7F8-445D-9371-DABC972AEC08}" presName="vertTwo" presStyleCnt="0"/>
      <dgm:spPr/>
    </dgm:pt>
    <dgm:pt modelId="{58A982C6-DBFD-416E-9B86-17519404C2BD}" type="pres">
      <dgm:prSet presAssocID="{1885BDB4-B7F8-445D-9371-DABC972AEC08}" presName="txTwo" presStyleLbl="node2" presStyleIdx="0" presStyleCnt="3">
        <dgm:presLayoutVars>
          <dgm:chPref val="3"/>
        </dgm:presLayoutVars>
      </dgm:prSet>
      <dgm:spPr/>
    </dgm:pt>
    <dgm:pt modelId="{5F535BA8-3FEA-4D51-9851-05B5D01B6285}" type="pres">
      <dgm:prSet presAssocID="{1885BDB4-B7F8-445D-9371-DABC972AEC08}" presName="horzTwo" presStyleCnt="0"/>
      <dgm:spPr/>
    </dgm:pt>
    <dgm:pt modelId="{F9754B9F-B38C-428B-A283-F548D40FB386}" type="pres">
      <dgm:prSet presAssocID="{741A6D46-9BC8-4A81-8D53-3D8DC20C9E40}" presName="sibSpaceTwo" presStyleCnt="0"/>
      <dgm:spPr/>
    </dgm:pt>
    <dgm:pt modelId="{E73B9CF1-4FB8-48FA-BD21-F9F15C3A690C}" type="pres">
      <dgm:prSet presAssocID="{C7D8CEFF-1B86-42C1-9D01-AA9FB3CA5B05}" presName="vertTwo" presStyleCnt="0"/>
      <dgm:spPr/>
    </dgm:pt>
    <dgm:pt modelId="{2A1ED0A9-70EB-458C-8B83-A804488E12A7}" type="pres">
      <dgm:prSet presAssocID="{C7D8CEFF-1B86-42C1-9D01-AA9FB3CA5B05}" presName="txTwo" presStyleLbl="node2" presStyleIdx="1" presStyleCnt="3">
        <dgm:presLayoutVars>
          <dgm:chPref val="3"/>
        </dgm:presLayoutVars>
      </dgm:prSet>
      <dgm:spPr/>
    </dgm:pt>
    <dgm:pt modelId="{16859EF2-0C39-4959-9A78-9604DDA4B2BB}" type="pres">
      <dgm:prSet presAssocID="{C7D8CEFF-1B86-42C1-9D01-AA9FB3CA5B05}" presName="horzTwo" presStyleCnt="0"/>
      <dgm:spPr/>
    </dgm:pt>
    <dgm:pt modelId="{DCDA92E0-6A9F-41A2-809A-AC70F91F2E22}" type="pres">
      <dgm:prSet presAssocID="{B0C9C3E3-7209-4442-9B72-0B7FBEB084BB}" presName="sibSpaceTwo" presStyleCnt="0"/>
      <dgm:spPr/>
    </dgm:pt>
    <dgm:pt modelId="{6857A448-F389-4AAC-8D40-5B043A60A618}" type="pres">
      <dgm:prSet presAssocID="{0EEC0CC8-93FE-4B49-A4F0-1FD9870542FC}" presName="vertTwo" presStyleCnt="0"/>
      <dgm:spPr/>
    </dgm:pt>
    <dgm:pt modelId="{6FDC09B4-CC2E-44A0-AF2D-AADDE75876F4}" type="pres">
      <dgm:prSet presAssocID="{0EEC0CC8-93FE-4B49-A4F0-1FD9870542FC}" presName="txTwo" presStyleLbl="node2" presStyleIdx="2" presStyleCnt="3">
        <dgm:presLayoutVars>
          <dgm:chPref val="3"/>
        </dgm:presLayoutVars>
      </dgm:prSet>
      <dgm:spPr/>
    </dgm:pt>
    <dgm:pt modelId="{1B2CFAAB-669B-451A-BBC7-B73673417A13}" type="pres">
      <dgm:prSet presAssocID="{0EEC0CC8-93FE-4B49-A4F0-1FD9870542FC}" presName="horzTwo" presStyleCnt="0"/>
      <dgm:spPr/>
    </dgm:pt>
  </dgm:ptLst>
  <dgm:cxnLst>
    <dgm:cxn modelId="{8078AB26-AF6A-452C-9780-EF573C06FF33}" type="presOf" srcId="{1885BDB4-B7F8-445D-9371-DABC972AEC08}" destId="{58A982C6-DBFD-416E-9B86-17519404C2BD}" srcOrd="0" destOrd="0" presId="urn:microsoft.com/office/officeart/2005/8/layout/hierarchy4"/>
    <dgm:cxn modelId="{15E5E02D-436D-4A91-9EB3-5FC6BF77D182}" srcId="{E30F2390-7921-4D03-A272-F37B9C5347CC}" destId="{0EEC0CC8-93FE-4B49-A4F0-1FD9870542FC}" srcOrd="2" destOrd="0" parTransId="{665165C2-C45C-40B2-933D-AC94835B2D0B}" sibTransId="{77554000-BB64-4BE2-BB34-BDCD54314B65}"/>
    <dgm:cxn modelId="{7720772E-CB5A-42EF-BAD2-20A6D73A1942}" type="presOf" srcId="{E30F2390-7921-4D03-A272-F37B9C5347CC}" destId="{BE0332F1-C6AC-45DE-81C7-60FBF86F2FB8}" srcOrd="0" destOrd="0" presId="urn:microsoft.com/office/officeart/2005/8/layout/hierarchy4"/>
    <dgm:cxn modelId="{E9FA8095-F3F2-441C-BE15-B824C67EB764}" srcId="{E30F2390-7921-4D03-A272-F37B9C5347CC}" destId="{1885BDB4-B7F8-445D-9371-DABC972AEC08}" srcOrd="0" destOrd="0" parTransId="{A6DB66E2-3397-442B-B2ED-9DBC7B4B3ADA}" sibTransId="{741A6D46-9BC8-4A81-8D53-3D8DC20C9E40}"/>
    <dgm:cxn modelId="{815C1EA1-0275-4A2D-895D-699A1D2D9589}" srcId="{252B8029-77E7-4247-A310-AD91BDFDACEC}" destId="{E30F2390-7921-4D03-A272-F37B9C5347CC}" srcOrd="0" destOrd="0" parTransId="{BE507F07-E973-46AB-89E8-05759B45168A}" sibTransId="{4DB17240-DE8F-463D-929B-885B6AE8722F}"/>
    <dgm:cxn modelId="{2BA7A4BB-641B-43B5-8A25-5966D1FD099B}" type="presOf" srcId="{C7D8CEFF-1B86-42C1-9D01-AA9FB3CA5B05}" destId="{2A1ED0A9-70EB-458C-8B83-A804488E12A7}" srcOrd="0" destOrd="0" presId="urn:microsoft.com/office/officeart/2005/8/layout/hierarchy4"/>
    <dgm:cxn modelId="{892D71D6-66A0-4E2B-B43E-B11BD9560E46}" type="presOf" srcId="{0EEC0CC8-93FE-4B49-A4F0-1FD9870542FC}" destId="{6FDC09B4-CC2E-44A0-AF2D-AADDE75876F4}" srcOrd="0" destOrd="0" presId="urn:microsoft.com/office/officeart/2005/8/layout/hierarchy4"/>
    <dgm:cxn modelId="{95B5B2DA-4CD1-4936-BFB8-03AAE6E2A782}" srcId="{E30F2390-7921-4D03-A272-F37B9C5347CC}" destId="{C7D8CEFF-1B86-42C1-9D01-AA9FB3CA5B05}" srcOrd="1" destOrd="0" parTransId="{220ED3D1-9FF1-4DE0-B251-4C6BAC0289A3}" sibTransId="{B0C9C3E3-7209-4442-9B72-0B7FBEB084BB}"/>
    <dgm:cxn modelId="{646324EA-92BE-432A-A2BC-C62BE79C7922}" type="presOf" srcId="{252B8029-77E7-4247-A310-AD91BDFDACEC}" destId="{7822A065-0003-4C3E-B28B-9709B636BC73}" srcOrd="0" destOrd="0" presId="urn:microsoft.com/office/officeart/2005/8/layout/hierarchy4"/>
    <dgm:cxn modelId="{964936EB-256B-40F7-827D-412A1A63C48D}" type="presParOf" srcId="{7822A065-0003-4C3E-B28B-9709B636BC73}" destId="{36C73852-C2B5-4896-A3D8-009BAB51B932}" srcOrd="0" destOrd="0" presId="urn:microsoft.com/office/officeart/2005/8/layout/hierarchy4"/>
    <dgm:cxn modelId="{3461D531-47DF-4C49-8A0B-08DC62CDBDDB}" type="presParOf" srcId="{36C73852-C2B5-4896-A3D8-009BAB51B932}" destId="{BE0332F1-C6AC-45DE-81C7-60FBF86F2FB8}" srcOrd="0" destOrd="0" presId="urn:microsoft.com/office/officeart/2005/8/layout/hierarchy4"/>
    <dgm:cxn modelId="{DCA9F2F1-EBBB-4AC0-BEEE-0D84C8135D66}" type="presParOf" srcId="{36C73852-C2B5-4896-A3D8-009BAB51B932}" destId="{256373F1-4899-432F-969F-70653E68FE6E}" srcOrd="1" destOrd="0" presId="urn:microsoft.com/office/officeart/2005/8/layout/hierarchy4"/>
    <dgm:cxn modelId="{8FC02035-DEAF-410C-9BA8-441DE634C9DB}" type="presParOf" srcId="{36C73852-C2B5-4896-A3D8-009BAB51B932}" destId="{86C5E162-3A9A-484F-B3E3-727BA40D08C0}" srcOrd="2" destOrd="0" presId="urn:microsoft.com/office/officeart/2005/8/layout/hierarchy4"/>
    <dgm:cxn modelId="{DA53F710-4D2A-4F83-A923-A2B0F917318E}" type="presParOf" srcId="{86C5E162-3A9A-484F-B3E3-727BA40D08C0}" destId="{3B737699-1682-4EDD-A4E1-6785409F1383}" srcOrd="0" destOrd="0" presId="urn:microsoft.com/office/officeart/2005/8/layout/hierarchy4"/>
    <dgm:cxn modelId="{539EF08E-16F8-4199-854A-BD1A9A2B73DA}" type="presParOf" srcId="{3B737699-1682-4EDD-A4E1-6785409F1383}" destId="{58A982C6-DBFD-416E-9B86-17519404C2BD}" srcOrd="0" destOrd="0" presId="urn:microsoft.com/office/officeart/2005/8/layout/hierarchy4"/>
    <dgm:cxn modelId="{48362737-2DB1-4BE3-BB64-9EB9D662014D}" type="presParOf" srcId="{3B737699-1682-4EDD-A4E1-6785409F1383}" destId="{5F535BA8-3FEA-4D51-9851-05B5D01B6285}" srcOrd="1" destOrd="0" presId="urn:microsoft.com/office/officeart/2005/8/layout/hierarchy4"/>
    <dgm:cxn modelId="{D5AB0A49-E1C8-4DD7-85AF-F0DD24EC50C5}" type="presParOf" srcId="{86C5E162-3A9A-484F-B3E3-727BA40D08C0}" destId="{F9754B9F-B38C-428B-A283-F548D40FB386}" srcOrd="1" destOrd="0" presId="urn:microsoft.com/office/officeart/2005/8/layout/hierarchy4"/>
    <dgm:cxn modelId="{5837391B-4D1A-4777-BE5C-0E90B4927DEF}" type="presParOf" srcId="{86C5E162-3A9A-484F-B3E3-727BA40D08C0}" destId="{E73B9CF1-4FB8-48FA-BD21-F9F15C3A690C}" srcOrd="2" destOrd="0" presId="urn:microsoft.com/office/officeart/2005/8/layout/hierarchy4"/>
    <dgm:cxn modelId="{396F1175-A6E2-458B-BA2F-CE106EC58E25}" type="presParOf" srcId="{E73B9CF1-4FB8-48FA-BD21-F9F15C3A690C}" destId="{2A1ED0A9-70EB-458C-8B83-A804488E12A7}" srcOrd="0" destOrd="0" presId="urn:microsoft.com/office/officeart/2005/8/layout/hierarchy4"/>
    <dgm:cxn modelId="{8C11C7AF-D02E-419B-B364-8F023B43C8CC}" type="presParOf" srcId="{E73B9CF1-4FB8-48FA-BD21-F9F15C3A690C}" destId="{16859EF2-0C39-4959-9A78-9604DDA4B2BB}" srcOrd="1" destOrd="0" presId="urn:microsoft.com/office/officeart/2005/8/layout/hierarchy4"/>
    <dgm:cxn modelId="{F8EEB87D-790E-48AD-B877-2FC608CEB963}" type="presParOf" srcId="{86C5E162-3A9A-484F-B3E3-727BA40D08C0}" destId="{DCDA92E0-6A9F-41A2-809A-AC70F91F2E22}" srcOrd="3" destOrd="0" presId="urn:microsoft.com/office/officeart/2005/8/layout/hierarchy4"/>
    <dgm:cxn modelId="{A8A9D73A-58E6-40CC-A2ED-2F6E4DEB9947}" type="presParOf" srcId="{86C5E162-3A9A-484F-B3E3-727BA40D08C0}" destId="{6857A448-F389-4AAC-8D40-5B043A60A618}" srcOrd="4" destOrd="0" presId="urn:microsoft.com/office/officeart/2005/8/layout/hierarchy4"/>
    <dgm:cxn modelId="{EEDAB3E9-ACB7-4ED0-A918-489F7699E36E}" type="presParOf" srcId="{6857A448-F389-4AAC-8D40-5B043A60A618}" destId="{6FDC09B4-CC2E-44A0-AF2D-AADDE75876F4}" srcOrd="0" destOrd="0" presId="urn:microsoft.com/office/officeart/2005/8/layout/hierarchy4"/>
    <dgm:cxn modelId="{C1A62816-AF55-4E70-9023-143942A49B8B}" type="presParOf" srcId="{6857A448-F389-4AAC-8D40-5B043A60A618}" destId="{1B2CFAAB-669B-451A-BBC7-B73673417A13}"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F01E0ED6-CD5F-4ECC-BB0E-77F6F46BC48C}" type="doc">
      <dgm:prSet loTypeId="urn:microsoft.com/office/officeart/2005/8/layout/vList2" loCatId="list" qsTypeId="urn:microsoft.com/office/officeart/2005/8/quickstyle/simple1" qsCatId="simple" csTypeId="urn:microsoft.com/office/officeart/2005/8/colors/accent0_2" csCatId="mainScheme"/>
      <dgm:spPr/>
      <dgm:t>
        <a:bodyPr/>
        <a:lstStyle/>
        <a:p>
          <a:endParaRPr lang="en-US"/>
        </a:p>
      </dgm:t>
    </dgm:pt>
    <dgm:pt modelId="{FC79EFAB-1FFF-40BA-8315-E492781EE928}">
      <dgm:prSet/>
      <dgm:spPr/>
      <dgm:t>
        <a:bodyPr/>
        <a:lstStyle/>
        <a:p>
          <a:r>
            <a:rPr lang="en-US"/>
            <a:t>Globally distributed edge nodes provide low latency connectivity to the Microsoft Network</a:t>
          </a:r>
        </a:p>
      </dgm:t>
    </dgm:pt>
    <dgm:pt modelId="{1FE742D0-C911-47A7-AA98-AC90A42DA26B}" type="parTrans" cxnId="{4379F257-E8B0-4AD0-A708-EEE15C89C87B}">
      <dgm:prSet/>
      <dgm:spPr/>
      <dgm:t>
        <a:bodyPr/>
        <a:lstStyle/>
        <a:p>
          <a:endParaRPr lang="en-US"/>
        </a:p>
      </dgm:t>
    </dgm:pt>
    <dgm:pt modelId="{F9516C9A-4833-43A7-80BA-397B8480B753}" type="sibTrans" cxnId="{4379F257-E8B0-4AD0-A708-EEE15C89C87B}">
      <dgm:prSet/>
      <dgm:spPr/>
      <dgm:t>
        <a:bodyPr/>
        <a:lstStyle/>
        <a:p>
          <a:endParaRPr lang="en-US"/>
        </a:p>
      </dgm:t>
    </dgm:pt>
    <dgm:pt modelId="{105B384A-1F8F-4640-961F-7A50375EF536}" type="pres">
      <dgm:prSet presAssocID="{F01E0ED6-CD5F-4ECC-BB0E-77F6F46BC48C}" presName="linear" presStyleCnt="0">
        <dgm:presLayoutVars>
          <dgm:animLvl val="lvl"/>
          <dgm:resizeHandles val="exact"/>
        </dgm:presLayoutVars>
      </dgm:prSet>
      <dgm:spPr/>
    </dgm:pt>
    <dgm:pt modelId="{A6A3A81D-E6AB-4FBC-9259-996A7B5CC39B}" type="pres">
      <dgm:prSet presAssocID="{FC79EFAB-1FFF-40BA-8315-E492781EE928}" presName="parentText" presStyleLbl="node1" presStyleIdx="0" presStyleCnt="1">
        <dgm:presLayoutVars>
          <dgm:chMax val="0"/>
          <dgm:bulletEnabled val="1"/>
        </dgm:presLayoutVars>
      </dgm:prSet>
      <dgm:spPr/>
    </dgm:pt>
  </dgm:ptLst>
  <dgm:cxnLst>
    <dgm:cxn modelId="{4379F257-E8B0-4AD0-A708-EEE15C89C87B}" srcId="{F01E0ED6-CD5F-4ECC-BB0E-77F6F46BC48C}" destId="{FC79EFAB-1FFF-40BA-8315-E492781EE928}" srcOrd="0" destOrd="0" parTransId="{1FE742D0-C911-47A7-AA98-AC90A42DA26B}" sibTransId="{F9516C9A-4833-43A7-80BA-397B8480B753}"/>
    <dgm:cxn modelId="{1CAEB390-7C1C-43E8-95CC-2BCD3D88B521}" type="presOf" srcId="{FC79EFAB-1FFF-40BA-8315-E492781EE928}" destId="{A6A3A81D-E6AB-4FBC-9259-996A7B5CC39B}" srcOrd="0" destOrd="0" presId="urn:microsoft.com/office/officeart/2005/8/layout/vList2"/>
    <dgm:cxn modelId="{94C400C2-92E3-4FEF-9E48-C38DCBF0AB7B}" type="presOf" srcId="{F01E0ED6-CD5F-4ECC-BB0E-77F6F46BC48C}" destId="{105B384A-1F8F-4640-961F-7A50375EF536}" srcOrd="0" destOrd="0" presId="urn:microsoft.com/office/officeart/2005/8/layout/vList2"/>
    <dgm:cxn modelId="{E92564D4-5233-463E-89D6-78D8C24551FA}" type="presParOf" srcId="{105B384A-1F8F-4640-961F-7A50375EF536}" destId="{A6A3A81D-E6AB-4FBC-9259-996A7B5CC39B}" srcOrd="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7A87723A-095B-4812-BF1A-686892231950}" type="doc">
      <dgm:prSet loTypeId="urn:microsoft.com/office/officeart/2005/8/layout/vList2" loCatId="list" qsTypeId="urn:microsoft.com/office/officeart/2005/8/quickstyle/simple1" qsCatId="simple" csTypeId="urn:microsoft.com/office/officeart/2005/8/colors/accent0_2" csCatId="mainScheme"/>
      <dgm:spPr/>
      <dgm:t>
        <a:bodyPr/>
        <a:lstStyle/>
        <a:p>
          <a:endParaRPr lang="en-US"/>
        </a:p>
      </dgm:t>
    </dgm:pt>
    <dgm:pt modelId="{43D2A2C1-966F-4D71-BD1D-74F67456956D}">
      <dgm:prSet/>
      <dgm:spPr/>
      <dgm:t>
        <a:bodyPr/>
        <a:lstStyle/>
        <a:p>
          <a:r>
            <a:rPr lang="en-US"/>
            <a:t>Globally distributed edge nodes provide low latency connectivity to the Microsoft Network</a:t>
          </a:r>
        </a:p>
      </dgm:t>
    </dgm:pt>
    <dgm:pt modelId="{CEA83699-FED4-4855-9E13-23B1E7300A51}" type="parTrans" cxnId="{8FB750FE-F7AB-4897-BF30-98470482596F}">
      <dgm:prSet/>
      <dgm:spPr/>
      <dgm:t>
        <a:bodyPr/>
        <a:lstStyle/>
        <a:p>
          <a:endParaRPr lang="en-US"/>
        </a:p>
      </dgm:t>
    </dgm:pt>
    <dgm:pt modelId="{A6FE7CC5-F37E-47C7-92E4-9F0C69163F8A}" type="sibTrans" cxnId="{8FB750FE-F7AB-4897-BF30-98470482596F}">
      <dgm:prSet/>
      <dgm:spPr/>
      <dgm:t>
        <a:bodyPr/>
        <a:lstStyle/>
        <a:p>
          <a:endParaRPr lang="en-US"/>
        </a:p>
      </dgm:t>
    </dgm:pt>
    <dgm:pt modelId="{191FE710-D5F4-4B67-8894-3A7D0366015B}" type="pres">
      <dgm:prSet presAssocID="{7A87723A-095B-4812-BF1A-686892231950}" presName="linear" presStyleCnt="0">
        <dgm:presLayoutVars>
          <dgm:animLvl val="lvl"/>
          <dgm:resizeHandles val="exact"/>
        </dgm:presLayoutVars>
      </dgm:prSet>
      <dgm:spPr/>
    </dgm:pt>
    <dgm:pt modelId="{4A4BD492-CD3C-4760-8B28-07A73710102B}" type="pres">
      <dgm:prSet presAssocID="{43D2A2C1-966F-4D71-BD1D-74F67456956D}" presName="parentText" presStyleLbl="node1" presStyleIdx="0" presStyleCnt="1">
        <dgm:presLayoutVars>
          <dgm:chMax val="0"/>
          <dgm:bulletEnabled val="1"/>
        </dgm:presLayoutVars>
      </dgm:prSet>
      <dgm:spPr/>
    </dgm:pt>
  </dgm:ptLst>
  <dgm:cxnLst>
    <dgm:cxn modelId="{BE177114-22A1-45DE-9FA6-E804B1BBAE69}" type="presOf" srcId="{7A87723A-095B-4812-BF1A-686892231950}" destId="{191FE710-D5F4-4B67-8894-3A7D0366015B}" srcOrd="0" destOrd="0" presId="urn:microsoft.com/office/officeart/2005/8/layout/vList2"/>
    <dgm:cxn modelId="{CA1DF39C-975E-405D-8FD2-0B4E96EF7388}" type="presOf" srcId="{43D2A2C1-966F-4D71-BD1D-74F67456956D}" destId="{4A4BD492-CD3C-4760-8B28-07A73710102B}" srcOrd="0" destOrd="0" presId="urn:microsoft.com/office/officeart/2005/8/layout/vList2"/>
    <dgm:cxn modelId="{8FB750FE-F7AB-4897-BF30-98470482596F}" srcId="{7A87723A-095B-4812-BF1A-686892231950}" destId="{43D2A2C1-966F-4D71-BD1D-74F67456956D}" srcOrd="0" destOrd="0" parTransId="{CEA83699-FED4-4855-9E13-23B1E7300A51}" sibTransId="{A6FE7CC5-F37E-47C7-92E4-9F0C69163F8A}"/>
    <dgm:cxn modelId="{EB879219-40DA-4830-86B6-F476333A65BB}" type="presParOf" srcId="{191FE710-D5F4-4B67-8894-3A7D0366015B}" destId="{4A4BD492-CD3C-4760-8B28-07A73710102B}" srcOrd="0"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54A239D5-361F-4F4A-BAE0-A8061BEC127B}"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D4B91D66-F047-4AAE-94CC-D5E573413ACD}">
      <dgm:prSet custT="1"/>
      <dgm:spPr/>
      <dgm:t>
        <a:bodyPr/>
        <a:lstStyle/>
        <a:p>
          <a:r>
            <a:rPr lang="en-US" sz="1800" baseline="0"/>
            <a:t>Blocking is the most extreme form of throttling</a:t>
          </a:r>
          <a:endParaRPr lang="en-US" sz="1800"/>
        </a:p>
      </dgm:t>
    </dgm:pt>
    <dgm:pt modelId="{04BF8A6D-AB24-4142-A54A-9BDC7C5990B8}" type="parTrans" cxnId="{555E189B-1954-4400-AB99-1D1CAFB670FE}">
      <dgm:prSet/>
      <dgm:spPr/>
      <dgm:t>
        <a:bodyPr/>
        <a:lstStyle/>
        <a:p>
          <a:endParaRPr lang="en-US" sz="2400"/>
        </a:p>
      </dgm:t>
    </dgm:pt>
    <dgm:pt modelId="{872D7CC4-B672-4A20-826B-0C729E380A6A}" type="sibTrans" cxnId="{555E189B-1954-4400-AB99-1D1CAFB670FE}">
      <dgm:prSet/>
      <dgm:spPr/>
      <dgm:t>
        <a:bodyPr/>
        <a:lstStyle/>
        <a:p>
          <a:endParaRPr lang="en-US" sz="2400"/>
        </a:p>
      </dgm:t>
    </dgm:pt>
    <dgm:pt modelId="{AFC10598-36F1-4EFF-AB57-11C651C12D3E}">
      <dgm:prSet custT="1"/>
      <dgm:spPr/>
      <dgm:t>
        <a:bodyPr/>
        <a:lstStyle/>
        <a:p>
          <a:r>
            <a:rPr lang="en-US" sz="1800" baseline="0"/>
            <a:t>Blocking can occur if long-term, extremely excessive traffic is detected that may threaten the overall health of the SharePoint Online service</a:t>
          </a:r>
          <a:endParaRPr lang="en-US" sz="1800"/>
        </a:p>
      </dgm:t>
    </dgm:pt>
    <dgm:pt modelId="{4C99311D-B3CD-495B-9FA3-C43A76E65F31}" type="parTrans" cxnId="{4F7CDF33-665C-4DFE-84F3-10E60A467F80}">
      <dgm:prSet/>
      <dgm:spPr/>
      <dgm:t>
        <a:bodyPr/>
        <a:lstStyle/>
        <a:p>
          <a:endParaRPr lang="en-US" sz="2400"/>
        </a:p>
      </dgm:t>
    </dgm:pt>
    <dgm:pt modelId="{0C45A71B-3030-4447-A388-C5504A67CEFE}" type="sibTrans" cxnId="{4F7CDF33-665C-4DFE-84F3-10E60A467F80}">
      <dgm:prSet/>
      <dgm:spPr/>
      <dgm:t>
        <a:bodyPr/>
        <a:lstStyle/>
        <a:p>
          <a:endParaRPr lang="en-US" sz="2400"/>
        </a:p>
      </dgm:t>
    </dgm:pt>
    <dgm:pt modelId="{D42E1042-E2F7-45DF-BB3D-7DB219243BA7}">
      <dgm:prSet custT="1"/>
      <dgm:spPr/>
      <dgm:t>
        <a:bodyPr/>
        <a:lstStyle/>
        <a:p>
          <a:r>
            <a:rPr lang="en-US" sz="1800" baseline="0"/>
            <a:t>Blocks are used to prevent excessive traffic from degrading the performance and reliability of SharePoint Online</a:t>
          </a:r>
          <a:endParaRPr lang="en-US" sz="1800"/>
        </a:p>
      </dgm:t>
    </dgm:pt>
    <dgm:pt modelId="{0840D1AF-F3A8-432C-8825-92BF1857081E}" type="parTrans" cxnId="{F88C67D5-CF94-45F3-AA60-7B377EF6FBA1}">
      <dgm:prSet/>
      <dgm:spPr/>
      <dgm:t>
        <a:bodyPr/>
        <a:lstStyle/>
        <a:p>
          <a:endParaRPr lang="en-US" sz="2400"/>
        </a:p>
      </dgm:t>
    </dgm:pt>
    <dgm:pt modelId="{7B33B966-2082-4AB0-98F8-DADFCA483D0E}" type="sibTrans" cxnId="{F88C67D5-CF94-45F3-AA60-7B377EF6FBA1}">
      <dgm:prSet/>
      <dgm:spPr/>
      <dgm:t>
        <a:bodyPr/>
        <a:lstStyle/>
        <a:p>
          <a:endParaRPr lang="en-US" sz="2400"/>
        </a:p>
      </dgm:t>
    </dgm:pt>
    <dgm:pt modelId="{C468776E-B740-4436-9439-EE21F761D767}">
      <dgm:prSet custT="1"/>
      <dgm:spPr/>
      <dgm:t>
        <a:bodyPr/>
        <a:lstStyle/>
        <a:p>
          <a:r>
            <a:rPr lang="en-US" sz="1800" baseline="0"/>
            <a:t>A block - which is usually placed at the app, site collection, or user level to prevent the offending process from running until you fix the problem. </a:t>
          </a:r>
          <a:endParaRPr lang="en-US" sz="1800"/>
        </a:p>
      </dgm:t>
    </dgm:pt>
    <dgm:pt modelId="{00657D25-DD28-46AF-8F3F-4CB050D1C9BA}" type="parTrans" cxnId="{5EDB3C9C-ABE5-4867-BA95-99568DC6E110}">
      <dgm:prSet/>
      <dgm:spPr/>
      <dgm:t>
        <a:bodyPr/>
        <a:lstStyle/>
        <a:p>
          <a:endParaRPr lang="en-US" sz="2400"/>
        </a:p>
      </dgm:t>
    </dgm:pt>
    <dgm:pt modelId="{C3EC737B-92FA-43B4-86AB-49C2B4252ED9}" type="sibTrans" cxnId="{5EDB3C9C-ABE5-4867-BA95-99568DC6E110}">
      <dgm:prSet/>
      <dgm:spPr/>
      <dgm:t>
        <a:bodyPr/>
        <a:lstStyle/>
        <a:p>
          <a:endParaRPr lang="en-US" sz="2400"/>
        </a:p>
      </dgm:t>
    </dgm:pt>
    <dgm:pt modelId="{E5FEEF67-9D39-4DE4-8D21-5B14CA8CA16C}">
      <dgm:prSet custT="1"/>
      <dgm:spPr/>
      <dgm:t>
        <a:bodyPr/>
        <a:lstStyle/>
        <a:p>
          <a:r>
            <a:rPr lang="en-US" sz="1800" baseline="0"/>
            <a:t>If we block your subscription, you must take action to modify the offending processes before the block can be removed.</a:t>
          </a:r>
          <a:endParaRPr lang="en-US" sz="1800"/>
        </a:p>
      </dgm:t>
    </dgm:pt>
    <dgm:pt modelId="{AF0FCB58-7E52-4491-853E-4E3A381C7748}" type="parTrans" cxnId="{08A9AEB7-5067-4BA6-BDFD-B6AA09E17D91}">
      <dgm:prSet/>
      <dgm:spPr/>
      <dgm:t>
        <a:bodyPr/>
        <a:lstStyle/>
        <a:p>
          <a:endParaRPr lang="en-US" sz="2400"/>
        </a:p>
      </dgm:t>
    </dgm:pt>
    <dgm:pt modelId="{FEB444DA-00FC-4ABB-950A-3C7D84F8EBF0}" type="sibTrans" cxnId="{08A9AEB7-5067-4BA6-BDFD-B6AA09E17D91}">
      <dgm:prSet/>
      <dgm:spPr/>
      <dgm:t>
        <a:bodyPr/>
        <a:lstStyle/>
        <a:p>
          <a:endParaRPr lang="en-US" sz="2400"/>
        </a:p>
      </dgm:t>
    </dgm:pt>
    <dgm:pt modelId="{1CA3D427-8FF0-41C8-BC36-E038C3EF8A64}">
      <dgm:prSet custT="1"/>
      <dgm:spPr/>
      <dgm:t>
        <a:bodyPr/>
        <a:lstStyle/>
        <a:p>
          <a:r>
            <a:rPr lang="en-US" sz="1800" baseline="0"/>
            <a:t>If we block your subscription, we will notify you of the block in the Microsoft 365 Message Center. The message describes what caused the block, provides guidance on how to resolve the offending issue, and tells you who to contact to get the block removed.</a:t>
          </a:r>
          <a:endParaRPr lang="en-US" sz="1800"/>
        </a:p>
      </dgm:t>
    </dgm:pt>
    <dgm:pt modelId="{B48C9E92-18EA-4B16-AA87-39325B6EA583}" type="parTrans" cxnId="{4818CE20-8208-47AE-88BA-DB2A1E433EEA}">
      <dgm:prSet/>
      <dgm:spPr/>
      <dgm:t>
        <a:bodyPr/>
        <a:lstStyle/>
        <a:p>
          <a:endParaRPr lang="en-US" sz="2400"/>
        </a:p>
      </dgm:t>
    </dgm:pt>
    <dgm:pt modelId="{D937319F-FB22-4014-94F4-7A54B88766CA}" type="sibTrans" cxnId="{4818CE20-8208-47AE-88BA-DB2A1E433EEA}">
      <dgm:prSet/>
      <dgm:spPr/>
      <dgm:t>
        <a:bodyPr/>
        <a:lstStyle/>
        <a:p>
          <a:endParaRPr lang="en-US" sz="2400"/>
        </a:p>
      </dgm:t>
    </dgm:pt>
    <dgm:pt modelId="{7DB84EE9-4A81-4896-8B7B-0D8FC148C93A}" type="pres">
      <dgm:prSet presAssocID="{54A239D5-361F-4F4A-BAE0-A8061BEC127B}" presName="vert0" presStyleCnt="0">
        <dgm:presLayoutVars>
          <dgm:dir/>
          <dgm:animOne val="branch"/>
          <dgm:animLvl val="lvl"/>
        </dgm:presLayoutVars>
      </dgm:prSet>
      <dgm:spPr/>
    </dgm:pt>
    <dgm:pt modelId="{17D5400D-8A3B-49B0-A093-F72173999ECA}" type="pres">
      <dgm:prSet presAssocID="{D4B91D66-F047-4AAE-94CC-D5E573413ACD}" presName="thickLine" presStyleLbl="alignNode1" presStyleIdx="0" presStyleCnt="6"/>
      <dgm:spPr/>
    </dgm:pt>
    <dgm:pt modelId="{6D62A7A7-C0E7-42A8-8519-29D492DDE12D}" type="pres">
      <dgm:prSet presAssocID="{D4B91D66-F047-4AAE-94CC-D5E573413ACD}" presName="horz1" presStyleCnt="0"/>
      <dgm:spPr/>
    </dgm:pt>
    <dgm:pt modelId="{712A1AFB-8D51-485A-8939-A68A72A43813}" type="pres">
      <dgm:prSet presAssocID="{D4B91D66-F047-4AAE-94CC-D5E573413ACD}" presName="tx1" presStyleLbl="revTx" presStyleIdx="0" presStyleCnt="6"/>
      <dgm:spPr/>
    </dgm:pt>
    <dgm:pt modelId="{7F7F050A-770C-4BCE-9936-B0D8004DBE81}" type="pres">
      <dgm:prSet presAssocID="{D4B91D66-F047-4AAE-94CC-D5E573413ACD}" presName="vert1" presStyleCnt="0"/>
      <dgm:spPr/>
    </dgm:pt>
    <dgm:pt modelId="{04E2AAF6-ED8F-4146-957C-698F3265EA25}" type="pres">
      <dgm:prSet presAssocID="{AFC10598-36F1-4EFF-AB57-11C651C12D3E}" presName="thickLine" presStyleLbl="alignNode1" presStyleIdx="1" presStyleCnt="6"/>
      <dgm:spPr/>
    </dgm:pt>
    <dgm:pt modelId="{5FCC529C-149F-4EB2-B158-01F178055E79}" type="pres">
      <dgm:prSet presAssocID="{AFC10598-36F1-4EFF-AB57-11C651C12D3E}" presName="horz1" presStyleCnt="0"/>
      <dgm:spPr/>
    </dgm:pt>
    <dgm:pt modelId="{B90C8C43-2DEB-404A-A49A-E61F048236E8}" type="pres">
      <dgm:prSet presAssocID="{AFC10598-36F1-4EFF-AB57-11C651C12D3E}" presName="tx1" presStyleLbl="revTx" presStyleIdx="1" presStyleCnt="6"/>
      <dgm:spPr/>
    </dgm:pt>
    <dgm:pt modelId="{55023DFE-E36B-456F-9703-C41CED9D5D9D}" type="pres">
      <dgm:prSet presAssocID="{AFC10598-36F1-4EFF-AB57-11C651C12D3E}" presName="vert1" presStyleCnt="0"/>
      <dgm:spPr/>
    </dgm:pt>
    <dgm:pt modelId="{9D816C70-E2BA-4213-BF5A-B1C37AE18921}" type="pres">
      <dgm:prSet presAssocID="{D42E1042-E2F7-45DF-BB3D-7DB219243BA7}" presName="thickLine" presStyleLbl="alignNode1" presStyleIdx="2" presStyleCnt="6"/>
      <dgm:spPr/>
    </dgm:pt>
    <dgm:pt modelId="{F3942955-A03E-46D2-8D73-DA7113C6A7FF}" type="pres">
      <dgm:prSet presAssocID="{D42E1042-E2F7-45DF-BB3D-7DB219243BA7}" presName="horz1" presStyleCnt="0"/>
      <dgm:spPr/>
    </dgm:pt>
    <dgm:pt modelId="{A81CF188-4CB8-4687-B097-2E66D2F05E7C}" type="pres">
      <dgm:prSet presAssocID="{D42E1042-E2F7-45DF-BB3D-7DB219243BA7}" presName="tx1" presStyleLbl="revTx" presStyleIdx="2" presStyleCnt="6"/>
      <dgm:spPr/>
    </dgm:pt>
    <dgm:pt modelId="{F3FC6E39-DD78-4580-8ED8-B7927EB2316F}" type="pres">
      <dgm:prSet presAssocID="{D42E1042-E2F7-45DF-BB3D-7DB219243BA7}" presName="vert1" presStyleCnt="0"/>
      <dgm:spPr/>
    </dgm:pt>
    <dgm:pt modelId="{1115A4BF-1B4E-4FE6-9DF2-B6C10143B7DE}" type="pres">
      <dgm:prSet presAssocID="{C468776E-B740-4436-9439-EE21F761D767}" presName="thickLine" presStyleLbl="alignNode1" presStyleIdx="3" presStyleCnt="6"/>
      <dgm:spPr/>
    </dgm:pt>
    <dgm:pt modelId="{6A0E115D-15CA-43CD-ACB8-A0143E1EC134}" type="pres">
      <dgm:prSet presAssocID="{C468776E-B740-4436-9439-EE21F761D767}" presName="horz1" presStyleCnt="0"/>
      <dgm:spPr/>
    </dgm:pt>
    <dgm:pt modelId="{5FCF410B-4FC9-4A16-BE99-0F8FFB38E82B}" type="pres">
      <dgm:prSet presAssocID="{C468776E-B740-4436-9439-EE21F761D767}" presName="tx1" presStyleLbl="revTx" presStyleIdx="3" presStyleCnt="6"/>
      <dgm:spPr/>
    </dgm:pt>
    <dgm:pt modelId="{9DCD9B2E-0439-43FD-991A-F3679E9BBBC1}" type="pres">
      <dgm:prSet presAssocID="{C468776E-B740-4436-9439-EE21F761D767}" presName="vert1" presStyleCnt="0"/>
      <dgm:spPr/>
    </dgm:pt>
    <dgm:pt modelId="{3F7F7D3A-8928-4B1F-856F-FC68459F5058}" type="pres">
      <dgm:prSet presAssocID="{E5FEEF67-9D39-4DE4-8D21-5B14CA8CA16C}" presName="thickLine" presStyleLbl="alignNode1" presStyleIdx="4" presStyleCnt="6"/>
      <dgm:spPr/>
    </dgm:pt>
    <dgm:pt modelId="{AE17166F-0183-451F-B733-9154BF09766E}" type="pres">
      <dgm:prSet presAssocID="{E5FEEF67-9D39-4DE4-8D21-5B14CA8CA16C}" presName="horz1" presStyleCnt="0"/>
      <dgm:spPr/>
    </dgm:pt>
    <dgm:pt modelId="{EC6C1AA1-37D6-453F-8C60-106953CE9FBD}" type="pres">
      <dgm:prSet presAssocID="{E5FEEF67-9D39-4DE4-8D21-5B14CA8CA16C}" presName="tx1" presStyleLbl="revTx" presStyleIdx="4" presStyleCnt="6"/>
      <dgm:spPr/>
    </dgm:pt>
    <dgm:pt modelId="{3085C8F1-2898-4643-8020-4D60F208705C}" type="pres">
      <dgm:prSet presAssocID="{E5FEEF67-9D39-4DE4-8D21-5B14CA8CA16C}" presName="vert1" presStyleCnt="0"/>
      <dgm:spPr/>
    </dgm:pt>
    <dgm:pt modelId="{DF35F16F-F6AD-430E-AC40-DAA7EAE8B4B2}" type="pres">
      <dgm:prSet presAssocID="{1CA3D427-8FF0-41C8-BC36-E038C3EF8A64}" presName="thickLine" presStyleLbl="alignNode1" presStyleIdx="5" presStyleCnt="6"/>
      <dgm:spPr/>
    </dgm:pt>
    <dgm:pt modelId="{51503D34-EC27-41D9-B242-39C67E1E3E11}" type="pres">
      <dgm:prSet presAssocID="{1CA3D427-8FF0-41C8-BC36-E038C3EF8A64}" presName="horz1" presStyleCnt="0"/>
      <dgm:spPr/>
    </dgm:pt>
    <dgm:pt modelId="{A5AE2651-BA56-42DB-B405-98358B77A8B7}" type="pres">
      <dgm:prSet presAssocID="{1CA3D427-8FF0-41C8-BC36-E038C3EF8A64}" presName="tx1" presStyleLbl="revTx" presStyleIdx="5" presStyleCnt="6"/>
      <dgm:spPr/>
    </dgm:pt>
    <dgm:pt modelId="{4E382542-11BF-4BB2-9EF1-7BD35767B299}" type="pres">
      <dgm:prSet presAssocID="{1CA3D427-8FF0-41C8-BC36-E038C3EF8A64}" presName="vert1" presStyleCnt="0"/>
      <dgm:spPr/>
    </dgm:pt>
  </dgm:ptLst>
  <dgm:cxnLst>
    <dgm:cxn modelId="{4818CE20-8208-47AE-88BA-DB2A1E433EEA}" srcId="{54A239D5-361F-4F4A-BAE0-A8061BEC127B}" destId="{1CA3D427-8FF0-41C8-BC36-E038C3EF8A64}" srcOrd="5" destOrd="0" parTransId="{B48C9E92-18EA-4B16-AA87-39325B6EA583}" sibTransId="{D937319F-FB22-4014-94F4-7A54B88766CA}"/>
    <dgm:cxn modelId="{4F7CDF33-665C-4DFE-84F3-10E60A467F80}" srcId="{54A239D5-361F-4F4A-BAE0-A8061BEC127B}" destId="{AFC10598-36F1-4EFF-AB57-11C651C12D3E}" srcOrd="1" destOrd="0" parTransId="{4C99311D-B3CD-495B-9FA3-C43A76E65F31}" sibTransId="{0C45A71B-3030-4447-A388-C5504A67CEFE}"/>
    <dgm:cxn modelId="{798D8978-E951-4BD5-90A0-49139E044491}" type="presOf" srcId="{54A239D5-361F-4F4A-BAE0-A8061BEC127B}" destId="{7DB84EE9-4A81-4896-8B7B-0D8FC148C93A}" srcOrd="0" destOrd="0" presId="urn:microsoft.com/office/officeart/2008/layout/LinedList"/>
    <dgm:cxn modelId="{0C24638E-5D17-48F7-8C3F-25B2FBD7CF98}" type="presOf" srcId="{D4B91D66-F047-4AAE-94CC-D5E573413ACD}" destId="{712A1AFB-8D51-485A-8939-A68A72A43813}" srcOrd="0" destOrd="0" presId="urn:microsoft.com/office/officeart/2008/layout/LinedList"/>
    <dgm:cxn modelId="{5F26FF8F-0F2E-406B-8D04-E140EFC24DBD}" type="presOf" srcId="{C468776E-B740-4436-9439-EE21F761D767}" destId="{5FCF410B-4FC9-4A16-BE99-0F8FFB38E82B}" srcOrd="0" destOrd="0" presId="urn:microsoft.com/office/officeart/2008/layout/LinedList"/>
    <dgm:cxn modelId="{555E189B-1954-4400-AB99-1D1CAFB670FE}" srcId="{54A239D5-361F-4F4A-BAE0-A8061BEC127B}" destId="{D4B91D66-F047-4AAE-94CC-D5E573413ACD}" srcOrd="0" destOrd="0" parTransId="{04BF8A6D-AB24-4142-A54A-9BDC7C5990B8}" sibTransId="{872D7CC4-B672-4A20-826B-0C729E380A6A}"/>
    <dgm:cxn modelId="{5EDB3C9C-ABE5-4867-BA95-99568DC6E110}" srcId="{54A239D5-361F-4F4A-BAE0-A8061BEC127B}" destId="{C468776E-B740-4436-9439-EE21F761D767}" srcOrd="3" destOrd="0" parTransId="{00657D25-DD28-46AF-8F3F-4CB050D1C9BA}" sibTransId="{C3EC737B-92FA-43B4-86AB-49C2B4252ED9}"/>
    <dgm:cxn modelId="{B2629BAC-A12D-4F83-B369-5928365CA888}" type="presOf" srcId="{D42E1042-E2F7-45DF-BB3D-7DB219243BA7}" destId="{A81CF188-4CB8-4687-B097-2E66D2F05E7C}" srcOrd="0" destOrd="0" presId="urn:microsoft.com/office/officeart/2008/layout/LinedList"/>
    <dgm:cxn modelId="{57CFB7B2-95BE-4B63-9FEC-BF8292277403}" type="presOf" srcId="{1CA3D427-8FF0-41C8-BC36-E038C3EF8A64}" destId="{A5AE2651-BA56-42DB-B405-98358B77A8B7}" srcOrd="0" destOrd="0" presId="urn:microsoft.com/office/officeart/2008/layout/LinedList"/>
    <dgm:cxn modelId="{08A9AEB7-5067-4BA6-BDFD-B6AA09E17D91}" srcId="{54A239D5-361F-4F4A-BAE0-A8061BEC127B}" destId="{E5FEEF67-9D39-4DE4-8D21-5B14CA8CA16C}" srcOrd="4" destOrd="0" parTransId="{AF0FCB58-7E52-4491-853E-4E3A381C7748}" sibTransId="{FEB444DA-00FC-4ABB-950A-3C7D84F8EBF0}"/>
    <dgm:cxn modelId="{F88C67D5-CF94-45F3-AA60-7B377EF6FBA1}" srcId="{54A239D5-361F-4F4A-BAE0-A8061BEC127B}" destId="{D42E1042-E2F7-45DF-BB3D-7DB219243BA7}" srcOrd="2" destOrd="0" parTransId="{0840D1AF-F3A8-432C-8825-92BF1857081E}" sibTransId="{7B33B966-2082-4AB0-98F8-DADFCA483D0E}"/>
    <dgm:cxn modelId="{296EE8DF-625A-4166-A54D-69C190231DE6}" type="presOf" srcId="{E5FEEF67-9D39-4DE4-8D21-5B14CA8CA16C}" destId="{EC6C1AA1-37D6-453F-8C60-106953CE9FBD}" srcOrd="0" destOrd="0" presId="urn:microsoft.com/office/officeart/2008/layout/LinedList"/>
    <dgm:cxn modelId="{293770F9-9AB4-4147-8DF7-FC1E0D65091B}" type="presOf" srcId="{AFC10598-36F1-4EFF-AB57-11C651C12D3E}" destId="{B90C8C43-2DEB-404A-A49A-E61F048236E8}" srcOrd="0" destOrd="0" presId="urn:microsoft.com/office/officeart/2008/layout/LinedList"/>
    <dgm:cxn modelId="{00903A02-85EA-4092-8072-EF47EADE8897}" type="presParOf" srcId="{7DB84EE9-4A81-4896-8B7B-0D8FC148C93A}" destId="{17D5400D-8A3B-49B0-A093-F72173999ECA}" srcOrd="0" destOrd="0" presId="urn:microsoft.com/office/officeart/2008/layout/LinedList"/>
    <dgm:cxn modelId="{CBAB1AE1-656A-4173-AF35-D39694BB408D}" type="presParOf" srcId="{7DB84EE9-4A81-4896-8B7B-0D8FC148C93A}" destId="{6D62A7A7-C0E7-42A8-8519-29D492DDE12D}" srcOrd="1" destOrd="0" presId="urn:microsoft.com/office/officeart/2008/layout/LinedList"/>
    <dgm:cxn modelId="{FA7C8736-26D8-4347-9049-0F399AD6742C}" type="presParOf" srcId="{6D62A7A7-C0E7-42A8-8519-29D492DDE12D}" destId="{712A1AFB-8D51-485A-8939-A68A72A43813}" srcOrd="0" destOrd="0" presId="urn:microsoft.com/office/officeart/2008/layout/LinedList"/>
    <dgm:cxn modelId="{4FD44801-FE16-454E-9E90-DC8D33162E60}" type="presParOf" srcId="{6D62A7A7-C0E7-42A8-8519-29D492DDE12D}" destId="{7F7F050A-770C-4BCE-9936-B0D8004DBE81}" srcOrd="1" destOrd="0" presId="urn:microsoft.com/office/officeart/2008/layout/LinedList"/>
    <dgm:cxn modelId="{DD460826-4733-4439-B291-02FF8E0B6BB2}" type="presParOf" srcId="{7DB84EE9-4A81-4896-8B7B-0D8FC148C93A}" destId="{04E2AAF6-ED8F-4146-957C-698F3265EA25}" srcOrd="2" destOrd="0" presId="urn:microsoft.com/office/officeart/2008/layout/LinedList"/>
    <dgm:cxn modelId="{18F0FD67-547B-4735-9FAC-E39D5E3D9350}" type="presParOf" srcId="{7DB84EE9-4A81-4896-8B7B-0D8FC148C93A}" destId="{5FCC529C-149F-4EB2-B158-01F178055E79}" srcOrd="3" destOrd="0" presId="urn:microsoft.com/office/officeart/2008/layout/LinedList"/>
    <dgm:cxn modelId="{5D5DD6C4-04E2-4F87-B93E-C53031E1E4BE}" type="presParOf" srcId="{5FCC529C-149F-4EB2-B158-01F178055E79}" destId="{B90C8C43-2DEB-404A-A49A-E61F048236E8}" srcOrd="0" destOrd="0" presId="urn:microsoft.com/office/officeart/2008/layout/LinedList"/>
    <dgm:cxn modelId="{28EB0255-A939-4C9E-A23E-55F16995C828}" type="presParOf" srcId="{5FCC529C-149F-4EB2-B158-01F178055E79}" destId="{55023DFE-E36B-456F-9703-C41CED9D5D9D}" srcOrd="1" destOrd="0" presId="urn:microsoft.com/office/officeart/2008/layout/LinedList"/>
    <dgm:cxn modelId="{1DB406FA-BD70-4B17-817F-2A68DBCAC67E}" type="presParOf" srcId="{7DB84EE9-4A81-4896-8B7B-0D8FC148C93A}" destId="{9D816C70-E2BA-4213-BF5A-B1C37AE18921}" srcOrd="4" destOrd="0" presId="urn:microsoft.com/office/officeart/2008/layout/LinedList"/>
    <dgm:cxn modelId="{3ADA1A0E-A1A1-411B-9324-7875678A88E3}" type="presParOf" srcId="{7DB84EE9-4A81-4896-8B7B-0D8FC148C93A}" destId="{F3942955-A03E-46D2-8D73-DA7113C6A7FF}" srcOrd="5" destOrd="0" presId="urn:microsoft.com/office/officeart/2008/layout/LinedList"/>
    <dgm:cxn modelId="{87B4CECD-F315-4033-945D-0A281B1C1912}" type="presParOf" srcId="{F3942955-A03E-46D2-8D73-DA7113C6A7FF}" destId="{A81CF188-4CB8-4687-B097-2E66D2F05E7C}" srcOrd="0" destOrd="0" presId="urn:microsoft.com/office/officeart/2008/layout/LinedList"/>
    <dgm:cxn modelId="{87A9CF1B-0C1D-4065-BB25-7B4D18370F9E}" type="presParOf" srcId="{F3942955-A03E-46D2-8D73-DA7113C6A7FF}" destId="{F3FC6E39-DD78-4580-8ED8-B7927EB2316F}" srcOrd="1" destOrd="0" presId="urn:microsoft.com/office/officeart/2008/layout/LinedList"/>
    <dgm:cxn modelId="{B9D16F15-DE13-4076-8152-EB2C953C9054}" type="presParOf" srcId="{7DB84EE9-4A81-4896-8B7B-0D8FC148C93A}" destId="{1115A4BF-1B4E-4FE6-9DF2-B6C10143B7DE}" srcOrd="6" destOrd="0" presId="urn:microsoft.com/office/officeart/2008/layout/LinedList"/>
    <dgm:cxn modelId="{1483FB7D-A659-4390-BB8D-0301D611E4DA}" type="presParOf" srcId="{7DB84EE9-4A81-4896-8B7B-0D8FC148C93A}" destId="{6A0E115D-15CA-43CD-ACB8-A0143E1EC134}" srcOrd="7" destOrd="0" presId="urn:microsoft.com/office/officeart/2008/layout/LinedList"/>
    <dgm:cxn modelId="{638B16BF-991A-4B8C-99CE-193F07227098}" type="presParOf" srcId="{6A0E115D-15CA-43CD-ACB8-A0143E1EC134}" destId="{5FCF410B-4FC9-4A16-BE99-0F8FFB38E82B}" srcOrd="0" destOrd="0" presId="urn:microsoft.com/office/officeart/2008/layout/LinedList"/>
    <dgm:cxn modelId="{4CB3D1F7-15DD-4753-8D7A-0D3F1BDC5789}" type="presParOf" srcId="{6A0E115D-15CA-43CD-ACB8-A0143E1EC134}" destId="{9DCD9B2E-0439-43FD-991A-F3679E9BBBC1}" srcOrd="1" destOrd="0" presId="urn:microsoft.com/office/officeart/2008/layout/LinedList"/>
    <dgm:cxn modelId="{512F446A-49F2-4602-89A4-368D6C2637AE}" type="presParOf" srcId="{7DB84EE9-4A81-4896-8B7B-0D8FC148C93A}" destId="{3F7F7D3A-8928-4B1F-856F-FC68459F5058}" srcOrd="8" destOrd="0" presId="urn:microsoft.com/office/officeart/2008/layout/LinedList"/>
    <dgm:cxn modelId="{BA76DF43-DF85-4C6A-97EC-27EA5754FE1F}" type="presParOf" srcId="{7DB84EE9-4A81-4896-8B7B-0D8FC148C93A}" destId="{AE17166F-0183-451F-B733-9154BF09766E}" srcOrd="9" destOrd="0" presId="urn:microsoft.com/office/officeart/2008/layout/LinedList"/>
    <dgm:cxn modelId="{0C821CDF-338C-4EC1-B44A-2DE2E85CB745}" type="presParOf" srcId="{AE17166F-0183-451F-B733-9154BF09766E}" destId="{EC6C1AA1-37D6-453F-8C60-106953CE9FBD}" srcOrd="0" destOrd="0" presId="urn:microsoft.com/office/officeart/2008/layout/LinedList"/>
    <dgm:cxn modelId="{7ACCC0B9-0301-45BA-A419-36874E3059B5}" type="presParOf" srcId="{AE17166F-0183-451F-B733-9154BF09766E}" destId="{3085C8F1-2898-4643-8020-4D60F208705C}" srcOrd="1" destOrd="0" presId="urn:microsoft.com/office/officeart/2008/layout/LinedList"/>
    <dgm:cxn modelId="{B43DA072-60CD-4F49-A2F4-AA27E847E86B}" type="presParOf" srcId="{7DB84EE9-4A81-4896-8B7B-0D8FC148C93A}" destId="{DF35F16F-F6AD-430E-AC40-DAA7EAE8B4B2}" srcOrd="10" destOrd="0" presId="urn:microsoft.com/office/officeart/2008/layout/LinedList"/>
    <dgm:cxn modelId="{CAEDA487-10D2-4FFE-AFB6-FA73B7C97DDC}" type="presParOf" srcId="{7DB84EE9-4A81-4896-8B7B-0D8FC148C93A}" destId="{51503D34-EC27-41D9-B242-39C67E1E3E11}" srcOrd="11" destOrd="0" presId="urn:microsoft.com/office/officeart/2008/layout/LinedList"/>
    <dgm:cxn modelId="{ADFF722B-9BDE-4302-B0C5-C952D35E7927}" type="presParOf" srcId="{51503D34-EC27-41D9-B242-39C67E1E3E11}" destId="{A5AE2651-BA56-42DB-B405-98358B77A8B7}" srcOrd="0" destOrd="0" presId="urn:microsoft.com/office/officeart/2008/layout/LinedList"/>
    <dgm:cxn modelId="{3336797A-CA52-4AB9-BDA6-46DFDD9EDD54}" type="presParOf" srcId="{51503D34-EC27-41D9-B242-39C67E1E3E11}" destId="{4E382542-11BF-4BB2-9EF1-7BD35767B299}"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E0AE5F85-5CE0-4090-A0D8-B290661473C1}"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54B7D3A0-35A8-4245-AD98-A539455A2D87}">
      <dgm:prSet/>
      <dgm:spPr/>
      <dgm:t>
        <a:bodyPr/>
        <a:lstStyle/>
        <a:p>
          <a:r>
            <a:rPr lang="en-US" baseline="0"/>
            <a:t>Reduce the frequency of calls</a:t>
          </a:r>
          <a:endParaRPr lang="en-US"/>
        </a:p>
      </dgm:t>
    </dgm:pt>
    <dgm:pt modelId="{ADA07A5E-6781-4B9C-A07D-D30B3A7E30D7}" type="parTrans" cxnId="{2E033F11-1B52-4F75-9012-3732248DF81B}">
      <dgm:prSet/>
      <dgm:spPr/>
      <dgm:t>
        <a:bodyPr/>
        <a:lstStyle/>
        <a:p>
          <a:endParaRPr lang="en-US"/>
        </a:p>
      </dgm:t>
    </dgm:pt>
    <dgm:pt modelId="{287AB260-8C3A-484C-B5AE-3AB354B5975D}" type="sibTrans" cxnId="{2E033F11-1B52-4F75-9012-3732248DF81B}">
      <dgm:prSet/>
      <dgm:spPr/>
      <dgm:t>
        <a:bodyPr/>
        <a:lstStyle/>
        <a:p>
          <a:endParaRPr lang="en-US"/>
        </a:p>
      </dgm:t>
    </dgm:pt>
    <dgm:pt modelId="{7D0129FE-9FCD-40E0-A8AE-EAF410546FE3}">
      <dgm:prSet/>
      <dgm:spPr/>
      <dgm:t>
        <a:bodyPr/>
        <a:lstStyle/>
        <a:p>
          <a:r>
            <a:rPr lang="en-US" baseline="0"/>
            <a:t>Limit the number of custom JSOM and Rest API calls to SharePoint to be 6 or fewer (per page load)</a:t>
          </a:r>
          <a:endParaRPr lang="en-US"/>
        </a:p>
      </dgm:t>
    </dgm:pt>
    <dgm:pt modelId="{50797669-B454-4BF8-A26C-3611DED00992}" type="parTrans" cxnId="{4483F716-AF75-49D9-B4D8-123614017875}">
      <dgm:prSet/>
      <dgm:spPr/>
      <dgm:t>
        <a:bodyPr/>
        <a:lstStyle/>
        <a:p>
          <a:endParaRPr lang="en-US"/>
        </a:p>
      </dgm:t>
    </dgm:pt>
    <dgm:pt modelId="{4D62C73E-F6EB-44FB-9C56-035B9E5BAF6F}" type="sibTrans" cxnId="{4483F716-AF75-49D9-B4D8-123614017875}">
      <dgm:prSet/>
      <dgm:spPr/>
      <dgm:t>
        <a:bodyPr/>
        <a:lstStyle/>
        <a:p>
          <a:endParaRPr lang="en-US"/>
        </a:p>
      </dgm:t>
    </dgm:pt>
    <dgm:pt modelId="{22493AFD-2DFC-4570-BF88-FF5182DF2B46}">
      <dgm:prSet/>
      <dgm:spPr/>
      <dgm:t>
        <a:bodyPr/>
        <a:lstStyle/>
        <a:p>
          <a:r>
            <a:rPr lang="en-US" baseline="0"/>
            <a:t>Decorate your traffic so we know who you are</a:t>
          </a:r>
          <a:endParaRPr lang="en-US"/>
        </a:p>
      </dgm:t>
    </dgm:pt>
    <dgm:pt modelId="{124924EA-A3B5-499A-9649-697D2AFB1C93}" type="parTrans" cxnId="{42F7D3B2-E66A-4215-BD3D-667E0ACC6849}">
      <dgm:prSet/>
      <dgm:spPr/>
      <dgm:t>
        <a:bodyPr/>
        <a:lstStyle/>
        <a:p>
          <a:endParaRPr lang="en-US"/>
        </a:p>
      </dgm:t>
    </dgm:pt>
    <dgm:pt modelId="{3ED5B565-79FC-4021-BE1E-5C9FAD746BCD}" type="sibTrans" cxnId="{42F7D3B2-E66A-4215-BD3D-667E0ACC6849}">
      <dgm:prSet/>
      <dgm:spPr/>
      <dgm:t>
        <a:bodyPr/>
        <a:lstStyle/>
        <a:p>
          <a:endParaRPr lang="en-US"/>
        </a:p>
      </dgm:t>
    </dgm:pt>
    <dgm:pt modelId="{5B2234CA-97A3-4C5B-8912-EC08E7F34129}">
      <dgm:prSet/>
      <dgm:spPr/>
      <dgm:t>
        <a:bodyPr/>
        <a:lstStyle/>
        <a:p>
          <a:r>
            <a:rPr lang="en-US" baseline="0"/>
            <a:t>One of the criteria used for throttling is traffic decoration, which impacts directly on the prioritization of the traffic. Well decorated traffic will be prioritized over traffic which is not properly decorated.</a:t>
          </a:r>
          <a:endParaRPr lang="en-US"/>
        </a:p>
      </dgm:t>
    </dgm:pt>
    <dgm:pt modelId="{397A4D31-E97C-4899-8391-DF514A8CD04F}" type="parTrans" cxnId="{36B29BBE-7C02-484D-859F-E81BCA92037E}">
      <dgm:prSet/>
      <dgm:spPr/>
      <dgm:t>
        <a:bodyPr/>
        <a:lstStyle/>
        <a:p>
          <a:endParaRPr lang="en-US"/>
        </a:p>
      </dgm:t>
    </dgm:pt>
    <dgm:pt modelId="{C3C03252-4DAC-4D7F-9029-10930A1F72A6}" type="sibTrans" cxnId="{36B29BBE-7C02-484D-859F-E81BCA92037E}">
      <dgm:prSet/>
      <dgm:spPr/>
      <dgm:t>
        <a:bodyPr/>
        <a:lstStyle/>
        <a:p>
          <a:endParaRPr lang="en-US"/>
        </a:p>
      </dgm:t>
    </dgm:pt>
    <dgm:pt modelId="{CBE382D9-401C-4400-A218-C921F6A9BC28}">
      <dgm:prSet/>
      <dgm:spPr/>
      <dgm:t>
        <a:bodyPr/>
        <a:lstStyle/>
        <a:p>
          <a:r>
            <a:rPr lang="en-US" baseline="0"/>
            <a:t>Leverage the retry-after header</a:t>
          </a:r>
          <a:endParaRPr lang="en-US"/>
        </a:p>
      </dgm:t>
    </dgm:pt>
    <dgm:pt modelId="{5F91A26B-48A3-4901-94BD-60884DE8786E}" type="parTrans" cxnId="{024DBEC7-F7F1-4AAF-A9DC-0738D95A2586}">
      <dgm:prSet/>
      <dgm:spPr/>
      <dgm:t>
        <a:bodyPr/>
        <a:lstStyle/>
        <a:p>
          <a:endParaRPr lang="en-US"/>
        </a:p>
      </dgm:t>
    </dgm:pt>
    <dgm:pt modelId="{E6019465-A4AB-4621-94B8-CDC8B9170EFF}" type="sibTrans" cxnId="{024DBEC7-F7F1-4AAF-A9DC-0738D95A2586}">
      <dgm:prSet/>
      <dgm:spPr/>
      <dgm:t>
        <a:bodyPr/>
        <a:lstStyle/>
        <a:p>
          <a:endParaRPr lang="en-US"/>
        </a:p>
      </dgm:t>
    </dgm:pt>
    <dgm:pt modelId="{0BBA9E52-C9C6-48FF-AC4D-6B528F1BAB03}">
      <dgm:prSet/>
      <dgm:spPr/>
      <dgm:t>
        <a:bodyPr/>
        <a:lstStyle/>
        <a:p>
          <a:r>
            <a:rPr lang="en-US" baseline="0"/>
            <a:t>Add the ExecuteQueryWithIncrementalRetry extension method in a static class and use it instead of ExecuteQuery to make your code handle throttling requests. </a:t>
          </a:r>
          <a:endParaRPr lang="en-US"/>
        </a:p>
      </dgm:t>
    </dgm:pt>
    <dgm:pt modelId="{6DE78202-08E1-4547-BB91-FD30B2BBF2F7}" type="parTrans" cxnId="{67FD1DC1-181B-4E1E-9654-690FFF220D2D}">
      <dgm:prSet/>
      <dgm:spPr/>
      <dgm:t>
        <a:bodyPr/>
        <a:lstStyle/>
        <a:p>
          <a:endParaRPr lang="en-US"/>
        </a:p>
      </dgm:t>
    </dgm:pt>
    <dgm:pt modelId="{345707A0-0239-4CBA-8D40-10C4A698599F}" type="sibTrans" cxnId="{67FD1DC1-181B-4E1E-9654-690FFF220D2D}">
      <dgm:prSet/>
      <dgm:spPr/>
      <dgm:t>
        <a:bodyPr/>
        <a:lstStyle/>
        <a:p>
          <a:endParaRPr lang="en-US"/>
        </a:p>
      </dgm:t>
    </dgm:pt>
    <dgm:pt modelId="{82499678-A5C6-42F5-AE9C-CB7D17C26BFC}">
      <dgm:prSet/>
      <dgm:spPr/>
      <dgm:t>
        <a:bodyPr/>
        <a:lstStyle/>
        <a:p>
          <a:r>
            <a:rPr lang="en-US" baseline="0"/>
            <a:t>You'll need to use SharePoint Online CSOM version 16.1.8316.1200 (December 2018 version) or higher</a:t>
          </a:r>
          <a:endParaRPr lang="en-US"/>
        </a:p>
      </dgm:t>
    </dgm:pt>
    <dgm:pt modelId="{FE13F6D1-4D8A-4541-9C32-7CD3988A8146}" type="parTrans" cxnId="{C3A1F6DF-42DB-41D8-96C7-C6907F8949AB}">
      <dgm:prSet/>
      <dgm:spPr/>
      <dgm:t>
        <a:bodyPr/>
        <a:lstStyle/>
        <a:p>
          <a:endParaRPr lang="en-US"/>
        </a:p>
      </dgm:t>
    </dgm:pt>
    <dgm:pt modelId="{0F79F8F6-2ED2-454B-AA67-1F20F271C3B5}" type="sibTrans" cxnId="{C3A1F6DF-42DB-41D8-96C7-C6907F8949AB}">
      <dgm:prSet/>
      <dgm:spPr/>
      <dgm:t>
        <a:bodyPr/>
        <a:lstStyle/>
        <a:p>
          <a:endParaRPr lang="en-US"/>
        </a:p>
      </dgm:t>
    </dgm:pt>
    <dgm:pt modelId="{F505CB16-EA07-4621-BA4B-02E82959E803}" type="pres">
      <dgm:prSet presAssocID="{E0AE5F85-5CE0-4090-A0D8-B290661473C1}" presName="vert0" presStyleCnt="0">
        <dgm:presLayoutVars>
          <dgm:dir/>
          <dgm:animOne val="branch"/>
          <dgm:animLvl val="lvl"/>
        </dgm:presLayoutVars>
      </dgm:prSet>
      <dgm:spPr/>
    </dgm:pt>
    <dgm:pt modelId="{87FC579E-456B-4E6C-A9D4-2A4E713BDB72}" type="pres">
      <dgm:prSet presAssocID="{54B7D3A0-35A8-4245-AD98-A539455A2D87}" presName="thickLine" presStyleLbl="alignNode1" presStyleIdx="0" presStyleCnt="3"/>
      <dgm:spPr/>
    </dgm:pt>
    <dgm:pt modelId="{2EA3ADB9-9F40-4B96-AAB6-45CD926A25F0}" type="pres">
      <dgm:prSet presAssocID="{54B7D3A0-35A8-4245-AD98-A539455A2D87}" presName="horz1" presStyleCnt="0"/>
      <dgm:spPr/>
    </dgm:pt>
    <dgm:pt modelId="{1CE2156C-5F23-48F6-BDA3-4345AF571E37}" type="pres">
      <dgm:prSet presAssocID="{54B7D3A0-35A8-4245-AD98-A539455A2D87}" presName="tx1" presStyleLbl="revTx" presStyleIdx="0" presStyleCnt="7"/>
      <dgm:spPr/>
    </dgm:pt>
    <dgm:pt modelId="{1723176B-F707-44CB-B51E-4D31B2C5000E}" type="pres">
      <dgm:prSet presAssocID="{54B7D3A0-35A8-4245-AD98-A539455A2D87}" presName="vert1" presStyleCnt="0"/>
      <dgm:spPr/>
    </dgm:pt>
    <dgm:pt modelId="{8DE05430-05A1-4199-90F4-0548B8BE0F6D}" type="pres">
      <dgm:prSet presAssocID="{7D0129FE-9FCD-40E0-A8AE-EAF410546FE3}" presName="vertSpace2a" presStyleCnt="0"/>
      <dgm:spPr/>
    </dgm:pt>
    <dgm:pt modelId="{B1445314-6BAF-4E34-AA86-C68320E118EC}" type="pres">
      <dgm:prSet presAssocID="{7D0129FE-9FCD-40E0-A8AE-EAF410546FE3}" presName="horz2" presStyleCnt="0"/>
      <dgm:spPr/>
    </dgm:pt>
    <dgm:pt modelId="{8A5352D0-C7CA-4CDB-B200-EBCFE67C823D}" type="pres">
      <dgm:prSet presAssocID="{7D0129FE-9FCD-40E0-A8AE-EAF410546FE3}" presName="horzSpace2" presStyleCnt="0"/>
      <dgm:spPr/>
    </dgm:pt>
    <dgm:pt modelId="{44DDE0CB-ECCC-43C9-81B0-E25666932FFB}" type="pres">
      <dgm:prSet presAssocID="{7D0129FE-9FCD-40E0-A8AE-EAF410546FE3}" presName="tx2" presStyleLbl="revTx" presStyleIdx="1" presStyleCnt="7"/>
      <dgm:spPr/>
    </dgm:pt>
    <dgm:pt modelId="{1734732A-52F9-44EA-BA05-8AD7CDB783E1}" type="pres">
      <dgm:prSet presAssocID="{7D0129FE-9FCD-40E0-A8AE-EAF410546FE3}" presName="vert2" presStyleCnt="0"/>
      <dgm:spPr/>
    </dgm:pt>
    <dgm:pt modelId="{EB428D6A-7783-470D-8E49-384089B964AF}" type="pres">
      <dgm:prSet presAssocID="{7D0129FE-9FCD-40E0-A8AE-EAF410546FE3}" presName="thinLine2b" presStyleLbl="callout" presStyleIdx="0" presStyleCnt="4"/>
      <dgm:spPr/>
    </dgm:pt>
    <dgm:pt modelId="{5E2514C2-D478-4B66-8E10-D84C74C63BB7}" type="pres">
      <dgm:prSet presAssocID="{7D0129FE-9FCD-40E0-A8AE-EAF410546FE3}" presName="vertSpace2b" presStyleCnt="0"/>
      <dgm:spPr/>
    </dgm:pt>
    <dgm:pt modelId="{86F2A6D0-5776-4BA2-8C6A-449688983A36}" type="pres">
      <dgm:prSet presAssocID="{22493AFD-2DFC-4570-BF88-FF5182DF2B46}" presName="thickLine" presStyleLbl="alignNode1" presStyleIdx="1" presStyleCnt="3"/>
      <dgm:spPr/>
    </dgm:pt>
    <dgm:pt modelId="{FF2360B8-52B6-460F-A1E2-AAD66D089A78}" type="pres">
      <dgm:prSet presAssocID="{22493AFD-2DFC-4570-BF88-FF5182DF2B46}" presName="horz1" presStyleCnt="0"/>
      <dgm:spPr/>
    </dgm:pt>
    <dgm:pt modelId="{63AD9131-037B-4723-B4B0-02FDC714D92B}" type="pres">
      <dgm:prSet presAssocID="{22493AFD-2DFC-4570-BF88-FF5182DF2B46}" presName="tx1" presStyleLbl="revTx" presStyleIdx="2" presStyleCnt="7"/>
      <dgm:spPr/>
    </dgm:pt>
    <dgm:pt modelId="{35DEA92F-639C-4CD5-8D4C-42E6EEC1C12E}" type="pres">
      <dgm:prSet presAssocID="{22493AFD-2DFC-4570-BF88-FF5182DF2B46}" presName="vert1" presStyleCnt="0"/>
      <dgm:spPr/>
    </dgm:pt>
    <dgm:pt modelId="{51123CCE-48CF-47A4-8952-C38BFAB4594F}" type="pres">
      <dgm:prSet presAssocID="{5B2234CA-97A3-4C5B-8912-EC08E7F34129}" presName="vertSpace2a" presStyleCnt="0"/>
      <dgm:spPr/>
    </dgm:pt>
    <dgm:pt modelId="{E6F5DA94-7389-4627-B0E7-F1E80754A251}" type="pres">
      <dgm:prSet presAssocID="{5B2234CA-97A3-4C5B-8912-EC08E7F34129}" presName="horz2" presStyleCnt="0"/>
      <dgm:spPr/>
    </dgm:pt>
    <dgm:pt modelId="{990F3935-3B1F-4FFE-A79E-94B50CCB2943}" type="pres">
      <dgm:prSet presAssocID="{5B2234CA-97A3-4C5B-8912-EC08E7F34129}" presName="horzSpace2" presStyleCnt="0"/>
      <dgm:spPr/>
    </dgm:pt>
    <dgm:pt modelId="{A1ADC5D7-7BA8-4BD2-92C9-D8D9D4AE60E8}" type="pres">
      <dgm:prSet presAssocID="{5B2234CA-97A3-4C5B-8912-EC08E7F34129}" presName="tx2" presStyleLbl="revTx" presStyleIdx="3" presStyleCnt="7"/>
      <dgm:spPr/>
    </dgm:pt>
    <dgm:pt modelId="{F466D42A-F06C-4AF3-834D-CEBF109AE3C9}" type="pres">
      <dgm:prSet presAssocID="{5B2234CA-97A3-4C5B-8912-EC08E7F34129}" presName="vert2" presStyleCnt="0"/>
      <dgm:spPr/>
    </dgm:pt>
    <dgm:pt modelId="{AF72C8F5-2F1E-4EF7-B1B1-D250337A6AB2}" type="pres">
      <dgm:prSet presAssocID="{5B2234CA-97A3-4C5B-8912-EC08E7F34129}" presName="thinLine2b" presStyleLbl="callout" presStyleIdx="1" presStyleCnt="4"/>
      <dgm:spPr/>
    </dgm:pt>
    <dgm:pt modelId="{A0392084-B3A4-4DF9-9933-96383F93CA08}" type="pres">
      <dgm:prSet presAssocID="{5B2234CA-97A3-4C5B-8912-EC08E7F34129}" presName="vertSpace2b" presStyleCnt="0"/>
      <dgm:spPr/>
    </dgm:pt>
    <dgm:pt modelId="{EC5D88E9-0855-4110-B9EB-703FCD47E241}" type="pres">
      <dgm:prSet presAssocID="{CBE382D9-401C-4400-A218-C921F6A9BC28}" presName="thickLine" presStyleLbl="alignNode1" presStyleIdx="2" presStyleCnt="3"/>
      <dgm:spPr/>
    </dgm:pt>
    <dgm:pt modelId="{F50760AD-EAD2-4BD4-B100-EF3EED8A67D9}" type="pres">
      <dgm:prSet presAssocID="{CBE382D9-401C-4400-A218-C921F6A9BC28}" presName="horz1" presStyleCnt="0"/>
      <dgm:spPr/>
    </dgm:pt>
    <dgm:pt modelId="{BB187BFA-C7C0-4BA9-A2F5-204E01D8155A}" type="pres">
      <dgm:prSet presAssocID="{CBE382D9-401C-4400-A218-C921F6A9BC28}" presName="tx1" presStyleLbl="revTx" presStyleIdx="4" presStyleCnt="7"/>
      <dgm:spPr/>
    </dgm:pt>
    <dgm:pt modelId="{020C98C9-24CB-4A55-AF90-4F68743A9BB4}" type="pres">
      <dgm:prSet presAssocID="{CBE382D9-401C-4400-A218-C921F6A9BC28}" presName="vert1" presStyleCnt="0"/>
      <dgm:spPr/>
    </dgm:pt>
    <dgm:pt modelId="{CC3E3456-AF95-4704-A3D3-CDCFBD94DC57}" type="pres">
      <dgm:prSet presAssocID="{0BBA9E52-C9C6-48FF-AC4D-6B528F1BAB03}" presName="vertSpace2a" presStyleCnt="0"/>
      <dgm:spPr/>
    </dgm:pt>
    <dgm:pt modelId="{281E703B-19EF-434B-911B-717EC2E23150}" type="pres">
      <dgm:prSet presAssocID="{0BBA9E52-C9C6-48FF-AC4D-6B528F1BAB03}" presName="horz2" presStyleCnt="0"/>
      <dgm:spPr/>
    </dgm:pt>
    <dgm:pt modelId="{ED4A76B4-88EB-457F-9CAD-BC6D4DB4FCD0}" type="pres">
      <dgm:prSet presAssocID="{0BBA9E52-C9C6-48FF-AC4D-6B528F1BAB03}" presName="horzSpace2" presStyleCnt="0"/>
      <dgm:spPr/>
    </dgm:pt>
    <dgm:pt modelId="{36A1B2A9-2EFB-4135-B1A3-94A7C73BCA28}" type="pres">
      <dgm:prSet presAssocID="{0BBA9E52-C9C6-48FF-AC4D-6B528F1BAB03}" presName="tx2" presStyleLbl="revTx" presStyleIdx="5" presStyleCnt="7"/>
      <dgm:spPr/>
    </dgm:pt>
    <dgm:pt modelId="{213CC716-63EB-4BDB-8296-88A22F591492}" type="pres">
      <dgm:prSet presAssocID="{0BBA9E52-C9C6-48FF-AC4D-6B528F1BAB03}" presName="vert2" presStyleCnt="0"/>
      <dgm:spPr/>
    </dgm:pt>
    <dgm:pt modelId="{0DC1638B-48AD-49C7-B2C4-E3D0208ECDB1}" type="pres">
      <dgm:prSet presAssocID="{0BBA9E52-C9C6-48FF-AC4D-6B528F1BAB03}" presName="thinLine2b" presStyleLbl="callout" presStyleIdx="2" presStyleCnt="4"/>
      <dgm:spPr/>
    </dgm:pt>
    <dgm:pt modelId="{5EBF2342-7F2F-414B-AA44-C4D9E7D734C7}" type="pres">
      <dgm:prSet presAssocID="{0BBA9E52-C9C6-48FF-AC4D-6B528F1BAB03}" presName="vertSpace2b" presStyleCnt="0"/>
      <dgm:spPr/>
    </dgm:pt>
    <dgm:pt modelId="{F491FC58-2158-4EDF-B6F3-55224C5FF2DB}" type="pres">
      <dgm:prSet presAssocID="{82499678-A5C6-42F5-AE9C-CB7D17C26BFC}" presName="horz2" presStyleCnt="0"/>
      <dgm:spPr/>
    </dgm:pt>
    <dgm:pt modelId="{D3D3FAF4-FC18-4351-BFCF-317B0AFA79B6}" type="pres">
      <dgm:prSet presAssocID="{82499678-A5C6-42F5-AE9C-CB7D17C26BFC}" presName="horzSpace2" presStyleCnt="0"/>
      <dgm:spPr/>
    </dgm:pt>
    <dgm:pt modelId="{490F1C90-DCC9-4072-A70A-DDFEDB9CA0D0}" type="pres">
      <dgm:prSet presAssocID="{82499678-A5C6-42F5-AE9C-CB7D17C26BFC}" presName="tx2" presStyleLbl="revTx" presStyleIdx="6" presStyleCnt="7"/>
      <dgm:spPr/>
    </dgm:pt>
    <dgm:pt modelId="{AE495287-6F6B-44AC-A376-0E86CC25D51E}" type="pres">
      <dgm:prSet presAssocID="{82499678-A5C6-42F5-AE9C-CB7D17C26BFC}" presName="vert2" presStyleCnt="0"/>
      <dgm:spPr/>
    </dgm:pt>
    <dgm:pt modelId="{F4EDAA9F-C24E-4008-81D8-A7E78B7F1B18}" type="pres">
      <dgm:prSet presAssocID="{82499678-A5C6-42F5-AE9C-CB7D17C26BFC}" presName="thinLine2b" presStyleLbl="callout" presStyleIdx="3" presStyleCnt="4"/>
      <dgm:spPr/>
    </dgm:pt>
    <dgm:pt modelId="{3059C7C4-633C-4D46-B7CC-7D9EB61E2BCE}" type="pres">
      <dgm:prSet presAssocID="{82499678-A5C6-42F5-AE9C-CB7D17C26BFC}" presName="vertSpace2b" presStyleCnt="0"/>
      <dgm:spPr/>
    </dgm:pt>
  </dgm:ptLst>
  <dgm:cxnLst>
    <dgm:cxn modelId="{2874A508-D09A-4F64-B706-844CCEA1BEB9}" type="presOf" srcId="{82499678-A5C6-42F5-AE9C-CB7D17C26BFC}" destId="{490F1C90-DCC9-4072-A70A-DDFEDB9CA0D0}" srcOrd="0" destOrd="0" presId="urn:microsoft.com/office/officeart/2008/layout/LinedList"/>
    <dgm:cxn modelId="{2E033F11-1B52-4F75-9012-3732248DF81B}" srcId="{E0AE5F85-5CE0-4090-A0D8-B290661473C1}" destId="{54B7D3A0-35A8-4245-AD98-A539455A2D87}" srcOrd="0" destOrd="0" parTransId="{ADA07A5E-6781-4B9C-A07D-D30B3A7E30D7}" sibTransId="{287AB260-8C3A-484C-B5AE-3AB354B5975D}"/>
    <dgm:cxn modelId="{A3BD0B12-A9AD-47A9-BF2B-9B59697026E4}" type="presOf" srcId="{54B7D3A0-35A8-4245-AD98-A539455A2D87}" destId="{1CE2156C-5F23-48F6-BDA3-4345AF571E37}" srcOrd="0" destOrd="0" presId="urn:microsoft.com/office/officeart/2008/layout/LinedList"/>
    <dgm:cxn modelId="{4483F716-AF75-49D9-B4D8-123614017875}" srcId="{54B7D3A0-35A8-4245-AD98-A539455A2D87}" destId="{7D0129FE-9FCD-40E0-A8AE-EAF410546FE3}" srcOrd="0" destOrd="0" parTransId="{50797669-B454-4BF8-A26C-3611DED00992}" sibTransId="{4D62C73E-F6EB-44FB-9C56-035B9E5BAF6F}"/>
    <dgm:cxn modelId="{792E2C5C-3E39-44F5-8EEA-7A2A24EDF3F3}" type="presOf" srcId="{0BBA9E52-C9C6-48FF-AC4D-6B528F1BAB03}" destId="{36A1B2A9-2EFB-4135-B1A3-94A7C73BCA28}" srcOrd="0" destOrd="0" presId="urn:microsoft.com/office/officeart/2008/layout/LinedList"/>
    <dgm:cxn modelId="{42980863-91A4-422D-8E41-5711B1148CF9}" type="presOf" srcId="{E0AE5F85-5CE0-4090-A0D8-B290661473C1}" destId="{F505CB16-EA07-4621-BA4B-02E82959E803}" srcOrd="0" destOrd="0" presId="urn:microsoft.com/office/officeart/2008/layout/LinedList"/>
    <dgm:cxn modelId="{32E3F265-CF3F-43BF-8A41-63AAD39F89CE}" type="presOf" srcId="{22493AFD-2DFC-4570-BF88-FF5182DF2B46}" destId="{63AD9131-037B-4723-B4B0-02FDC714D92B}" srcOrd="0" destOrd="0" presId="urn:microsoft.com/office/officeart/2008/layout/LinedList"/>
    <dgm:cxn modelId="{C7B74677-1FFD-4C6B-8794-F12A30E8687F}" type="presOf" srcId="{5B2234CA-97A3-4C5B-8912-EC08E7F34129}" destId="{A1ADC5D7-7BA8-4BD2-92C9-D8D9D4AE60E8}" srcOrd="0" destOrd="0" presId="urn:microsoft.com/office/officeart/2008/layout/LinedList"/>
    <dgm:cxn modelId="{42F7D3B2-E66A-4215-BD3D-667E0ACC6849}" srcId="{E0AE5F85-5CE0-4090-A0D8-B290661473C1}" destId="{22493AFD-2DFC-4570-BF88-FF5182DF2B46}" srcOrd="1" destOrd="0" parTransId="{124924EA-A3B5-499A-9649-697D2AFB1C93}" sibTransId="{3ED5B565-79FC-4021-BE1E-5C9FAD746BCD}"/>
    <dgm:cxn modelId="{B39666BE-D908-411F-BBDA-4AD36316569C}" type="presOf" srcId="{7D0129FE-9FCD-40E0-A8AE-EAF410546FE3}" destId="{44DDE0CB-ECCC-43C9-81B0-E25666932FFB}" srcOrd="0" destOrd="0" presId="urn:microsoft.com/office/officeart/2008/layout/LinedList"/>
    <dgm:cxn modelId="{36B29BBE-7C02-484D-859F-E81BCA92037E}" srcId="{22493AFD-2DFC-4570-BF88-FF5182DF2B46}" destId="{5B2234CA-97A3-4C5B-8912-EC08E7F34129}" srcOrd="0" destOrd="0" parTransId="{397A4D31-E97C-4899-8391-DF514A8CD04F}" sibTransId="{C3C03252-4DAC-4D7F-9029-10930A1F72A6}"/>
    <dgm:cxn modelId="{67FD1DC1-181B-4E1E-9654-690FFF220D2D}" srcId="{CBE382D9-401C-4400-A218-C921F6A9BC28}" destId="{0BBA9E52-C9C6-48FF-AC4D-6B528F1BAB03}" srcOrd="0" destOrd="0" parTransId="{6DE78202-08E1-4547-BB91-FD30B2BBF2F7}" sibTransId="{345707A0-0239-4CBA-8D40-10C4A698599F}"/>
    <dgm:cxn modelId="{024DBEC7-F7F1-4AAF-A9DC-0738D95A2586}" srcId="{E0AE5F85-5CE0-4090-A0D8-B290661473C1}" destId="{CBE382D9-401C-4400-A218-C921F6A9BC28}" srcOrd="2" destOrd="0" parTransId="{5F91A26B-48A3-4901-94BD-60884DE8786E}" sibTransId="{E6019465-A4AB-4621-94B8-CDC8B9170EFF}"/>
    <dgm:cxn modelId="{C3A1F6DF-42DB-41D8-96C7-C6907F8949AB}" srcId="{CBE382D9-401C-4400-A218-C921F6A9BC28}" destId="{82499678-A5C6-42F5-AE9C-CB7D17C26BFC}" srcOrd="1" destOrd="0" parTransId="{FE13F6D1-4D8A-4541-9C32-7CD3988A8146}" sibTransId="{0F79F8F6-2ED2-454B-AA67-1F20F271C3B5}"/>
    <dgm:cxn modelId="{23DD05E0-DDBF-4627-9D37-2FFFA83ADB58}" type="presOf" srcId="{CBE382D9-401C-4400-A218-C921F6A9BC28}" destId="{BB187BFA-C7C0-4BA9-A2F5-204E01D8155A}" srcOrd="0" destOrd="0" presId="urn:microsoft.com/office/officeart/2008/layout/LinedList"/>
    <dgm:cxn modelId="{7CEDEB02-2D6C-4C9F-92FF-B7FF2E92D375}" type="presParOf" srcId="{F505CB16-EA07-4621-BA4B-02E82959E803}" destId="{87FC579E-456B-4E6C-A9D4-2A4E713BDB72}" srcOrd="0" destOrd="0" presId="urn:microsoft.com/office/officeart/2008/layout/LinedList"/>
    <dgm:cxn modelId="{06584ED1-FE82-4F6F-B851-4BE1E52AFA29}" type="presParOf" srcId="{F505CB16-EA07-4621-BA4B-02E82959E803}" destId="{2EA3ADB9-9F40-4B96-AAB6-45CD926A25F0}" srcOrd="1" destOrd="0" presId="urn:microsoft.com/office/officeart/2008/layout/LinedList"/>
    <dgm:cxn modelId="{D79EBF6D-D766-4BCE-BFCC-BA55508F8DAE}" type="presParOf" srcId="{2EA3ADB9-9F40-4B96-AAB6-45CD926A25F0}" destId="{1CE2156C-5F23-48F6-BDA3-4345AF571E37}" srcOrd="0" destOrd="0" presId="urn:microsoft.com/office/officeart/2008/layout/LinedList"/>
    <dgm:cxn modelId="{B1661ACC-E877-401A-B17E-0556396FED89}" type="presParOf" srcId="{2EA3ADB9-9F40-4B96-AAB6-45CD926A25F0}" destId="{1723176B-F707-44CB-B51E-4D31B2C5000E}" srcOrd="1" destOrd="0" presId="urn:microsoft.com/office/officeart/2008/layout/LinedList"/>
    <dgm:cxn modelId="{3F8FC60F-9EED-4548-8022-99649697B933}" type="presParOf" srcId="{1723176B-F707-44CB-B51E-4D31B2C5000E}" destId="{8DE05430-05A1-4199-90F4-0548B8BE0F6D}" srcOrd="0" destOrd="0" presId="urn:microsoft.com/office/officeart/2008/layout/LinedList"/>
    <dgm:cxn modelId="{7F7210CC-F7EB-4CA5-8E34-B19491A10998}" type="presParOf" srcId="{1723176B-F707-44CB-B51E-4D31B2C5000E}" destId="{B1445314-6BAF-4E34-AA86-C68320E118EC}" srcOrd="1" destOrd="0" presId="urn:microsoft.com/office/officeart/2008/layout/LinedList"/>
    <dgm:cxn modelId="{B56E6FD0-FCA7-4E67-B96D-CCF23DDF4A08}" type="presParOf" srcId="{B1445314-6BAF-4E34-AA86-C68320E118EC}" destId="{8A5352D0-C7CA-4CDB-B200-EBCFE67C823D}" srcOrd="0" destOrd="0" presId="urn:microsoft.com/office/officeart/2008/layout/LinedList"/>
    <dgm:cxn modelId="{BD70E481-2AD4-4FAC-86FC-87B711141CB8}" type="presParOf" srcId="{B1445314-6BAF-4E34-AA86-C68320E118EC}" destId="{44DDE0CB-ECCC-43C9-81B0-E25666932FFB}" srcOrd="1" destOrd="0" presId="urn:microsoft.com/office/officeart/2008/layout/LinedList"/>
    <dgm:cxn modelId="{8B7BC161-7044-489F-8274-FD6EA1AD70B3}" type="presParOf" srcId="{B1445314-6BAF-4E34-AA86-C68320E118EC}" destId="{1734732A-52F9-44EA-BA05-8AD7CDB783E1}" srcOrd="2" destOrd="0" presId="urn:microsoft.com/office/officeart/2008/layout/LinedList"/>
    <dgm:cxn modelId="{D9B78E2E-8050-4198-A723-2E7855F2C15D}" type="presParOf" srcId="{1723176B-F707-44CB-B51E-4D31B2C5000E}" destId="{EB428D6A-7783-470D-8E49-384089B964AF}" srcOrd="2" destOrd="0" presId="urn:microsoft.com/office/officeart/2008/layout/LinedList"/>
    <dgm:cxn modelId="{B19440E4-E012-4BFB-8114-D12FF347D4B4}" type="presParOf" srcId="{1723176B-F707-44CB-B51E-4D31B2C5000E}" destId="{5E2514C2-D478-4B66-8E10-D84C74C63BB7}" srcOrd="3" destOrd="0" presId="urn:microsoft.com/office/officeart/2008/layout/LinedList"/>
    <dgm:cxn modelId="{C51D69FC-89E3-4878-B605-F54ED1189D5F}" type="presParOf" srcId="{F505CB16-EA07-4621-BA4B-02E82959E803}" destId="{86F2A6D0-5776-4BA2-8C6A-449688983A36}" srcOrd="2" destOrd="0" presId="urn:microsoft.com/office/officeart/2008/layout/LinedList"/>
    <dgm:cxn modelId="{A7EE37F4-D76E-492A-9E89-32B532F80B6E}" type="presParOf" srcId="{F505CB16-EA07-4621-BA4B-02E82959E803}" destId="{FF2360B8-52B6-460F-A1E2-AAD66D089A78}" srcOrd="3" destOrd="0" presId="urn:microsoft.com/office/officeart/2008/layout/LinedList"/>
    <dgm:cxn modelId="{D495E4F0-2C52-4C82-91DF-8F3D259BC532}" type="presParOf" srcId="{FF2360B8-52B6-460F-A1E2-AAD66D089A78}" destId="{63AD9131-037B-4723-B4B0-02FDC714D92B}" srcOrd="0" destOrd="0" presId="urn:microsoft.com/office/officeart/2008/layout/LinedList"/>
    <dgm:cxn modelId="{6C1DDB43-9A6F-4FB2-91FC-228DE4C991D3}" type="presParOf" srcId="{FF2360B8-52B6-460F-A1E2-AAD66D089A78}" destId="{35DEA92F-639C-4CD5-8D4C-42E6EEC1C12E}" srcOrd="1" destOrd="0" presId="urn:microsoft.com/office/officeart/2008/layout/LinedList"/>
    <dgm:cxn modelId="{EF1F46F1-8944-43E6-A222-7D51B60F1EB3}" type="presParOf" srcId="{35DEA92F-639C-4CD5-8D4C-42E6EEC1C12E}" destId="{51123CCE-48CF-47A4-8952-C38BFAB4594F}" srcOrd="0" destOrd="0" presId="urn:microsoft.com/office/officeart/2008/layout/LinedList"/>
    <dgm:cxn modelId="{765D6B87-6112-4F99-AEEB-9B3C6111D6BF}" type="presParOf" srcId="{35DEA92F-639C-4CD5-8D4C-42E6EEC1C12E}" destId="{E6F5DA94-7389-4627-B0E7-F1E80754A251}" srcOrd="1" destOrd="0" presId="urn:microsoft.com/office/officeart/2008/layout/LinedList"/>
    <dgm:cxn modelId="{CB7ED670-1A82-437E-8F0C-41FEACA6FA38}" type="presParOf" srcId="{E6F5DA94-7389-4627-B0E7-F1E80754A251}" destId="{990F3935-3B1F-4FFE-A79E-94B50CCB2943}" srcOrd="0" destOrd="0" presId="urn:microsoft.com/office/officeart/2008/layout/LinedList"/>
    <dgm:cxn modelId="{29995407-BFC4-4B48-8797-AF6AEF0720CE}" type="presParOf" srcId="{E6F5DA94-7389-4627-B0E7-F1E80754A251}" destId="{A1ADC5D7-7BA8-4BD2-92C9-D8D9D4AE60E8}" srcOrd="1" destOrd="0" presId="urn:microsoft.com/office/officeart/2008/layout/LinedList"/>
    <dgm:cxn modelId="{A052B90F-CB63-455B-87DF-FE0E436BFFDA}" type="presParOf" srcId="{E6F5DA94-7389-4627-B0E7-F1E80754A251}" destId="{F466D42A-F06C-4AF3-834D-CEBF109AE3C9}" srcOrd="2" destOrd="0" presId="urn:microsoft.com/office/officeart/2008/layout/LinedList"/>
    <dgm:cxn modelId="{B02BAF1B-4D3E-4937-BE59-CD460617D9C6}" type="presParOf" srcId="{35DEA92F-639C-4CD5-8D4C-42E6EEC1C12E}" destId="{AF72C8F5-2F1E-4EF7-B1B1-D250337A6AB2}" srcOrd="2" destOrd="0" presId="urn:microsoft.com/office/officeart/2008/layout/LinedList"/>
    <dgm:cxn modelId="{7DBD2D7D-6BBC-45B3-9706-0382979FEF37}" type="presParOf" srcId="{35DEA92F-639C-4CD5-8D4C-42E6EEC1C12E}" destId="{A0392084-B3A4-4DF9-9933-96383F93CA08}" srcOrd="3" destOrd="0" presId="urn:microsoft.com/office/officeart/2008/layout/LinedList"/>
    <dgm:cxn modelId="{00644710-DF4A-4552-85C5-C16F7AF12B6F}" type="presParOf" srcId="{F505CB16-EA07-4621-BA4B-02E82959E803}" destId="{EC5D88E9-0855-4110-B9EB-703FCD47E241}" srcOrd="4" destOrd="0" presId="urn:microsoft.com/office/officeart/2008/layout/LinedList"/>
    <dgm:cxn modelId="{AFB8D284-280B-4493-BA1B-BEB70918DE2D}" type="presParOf" srcId="{F505CB16-EA07-4621-BA4B-02E82959E803}" destId="{F50760AD-EAD2-4BD4-B100-EF3EED8A67D9}" srcOrd="5" destOrd="0" presId="urn:microsoft.com/office/officeart/2008/layout/LinedList"/>
    <dgm:cxn modelId="{3A4125D1-4780-42D5-A1D6-722B0D6DCD04}" type="presParOf" srcId="{F50760AD-EAD2-4BD4-B100-EF3EED8A67D9}" destId="{BB187BFA-C7C0-4BA9-A2F5-204E01D8155A}" srcOrd="0" destOrd="0" presId="urn:microsoft.com/office/officeart/2008/layout/LinedList"/>
    <dgm:cxn modelId="{EC679BBF-62BF-47FA-80F2-5DC57D4E1015}" type="presParOf" srcId="{F50760AD-EAD2-4BD4-B100-EF3EED8A67D9}" destId="{020C98C9-24CB-4A55-AF90-4F68743A9BB4}" srcOrd="1" destOrd="0" presId="urn:microsoft.com/office/officeart/2008/layout/LinedList"/>
    <dgm:cxn modelId="{520A3650-052F-4E20-B8A1-7ABACA0FCCCB}" type="presParOf" srcId="{020C98C9-24CB-4A55-AF90-4F68743A9BB4}" destId="{CC3E3456-AF95-4704-A3D3-CDCFBD94DC57}" srcOrd="0" destOrd="0" presId="urn:microsoft.com/office/officeart/2008/layout/LinedList"/>
    <dgm:cxn modelId="{7950A039-F3B2-4757-8E71-EF9F8F262338}" type="presParOf" srcId="{020C98C9-24CB-4A55-AF90-4F68743A9BB4}" destId="{281E703B-19EF-434B-911B-717EC2E23150}" srcOrd="1" destOrd="0" presId="urn:microsoft.com/office/officeart/2008/layout/LinedList"/>
    <dgm:cxn modelId="{B411DD82-0986-4691-BA4A-364F363074BA}" type="presParOf" srcId="{281E703B-19EF-434B-911B-717EC2E23150}" destId="{ED4A76B4-88EB-457F-9CAD-BC6D4DB4FCD0}" srcOrd="0" destOrd="0" presId="urn:microsoft.com/office/officeart/2008/layout/LinedList"/>
    <dgm:cxn modelId="{B56F3004-BBD0-4D52-9CE9-DDDA50A8CF05}" type="presParOf" srcId="{281E703B-19EF-434B-911B-717EC2E23150}" destId="{36A1B2A9-2EFB-4135-B1A3-94A7C73BCA28}" srcOrd="1" destOrd="0" presId="urn:microsoft.com/office/officeart/2008/layout/LinedList"/>
    <dgm:cxn modelId="{9C491AAA-8118-4F22-968D-00BC0C4BDC97}" type="presParOf" srcId="{281E703B-19EF-434B-911B-717EC2E23150}" destId="{213CC716-63EB-4BDB-8296-88A22F591492}" srcOrd="2" destOrd="0" presId="urn:microsoft.com/office/officeart/2008/layout/LinedList"/>
    <dgm:cxn modelId="{944DAABF-9821-45C2-A685-4EC343D86DD5}" type="presParOf" srcId="{020C98C9-24CB-4A55-AF90-4F68743A9BB4}" destId="{0DC1638B-48AD-49C7-B2C4-E3D0208ECDB1}" srcOrd="2" destOrd="0" presId="urn:microsoft.com/office/officeart/2008/layout/LinedList"/>
    <dgm:cxn modelId="{B7225B75-4DE5-4CFC-8065-17BC83D71F2A}" type="presParOf" srcId="{020C98C9-24CB-4A55-AF90-4F68743A9BB4}" destId="{5EBF2342-7F2F-414B-AA44-C4D9E7D734C7}" srcOrd="3" destOrd="0" presId="urn:microsoft.com/office/officeart/2008/layout/LinedList"/>
    <dgm:cxn modelId="{9B2AC352-C851-40A2-AC64-F14ADAA680C7}" type="presParOf" srcId="{020C98C9-24CB-4A55-AF90-4F68743A9BB4}" destId="{F491FC58-2158-4EDF-B6F3-55224C5FF2DB}" srcOrd="4" destOrd="0" presId="urn:microsoft.com/office/officeart/2008/layout/LinedList"/>
    <dgm:cxn modelId="{092A6B9D-3916-4618-A2C5-B0D53151B9AD}" type="presParOf" srcId="{F491FC58-2158-4EDF-B6F3-55224C5FF2DB}" destId="{D3D3FAF4-FC18-4351-BFCF-317B0AFA79B6}" srcOrd="0" destOrd="0" presId="urn:microsoft.com/office/officeart/2008/layout/LinedList"/>
    <dgm:cxn modelId="{786D027A-18C1-4216-93FC-23FDF87867CC}" type="presParOf" srcId="{F491FC58-2158-4EDF-B6F3-55224C5FF2DB}" destId="{490F1C90-DCC9-4072-A70A-DDFEDB9CA0D0}" srcOrd="1" destOrd="0" presId="urn:microsoft.com/office/officeart/2008/layout/LinedList"/>
    <dgm:cxn modelId="{4F423C04-2050-4C2F-AA67-7A72AC5E50A8}" type="presParOf" srcId="{F491FC58-2158-4EDF-B6F3-55224C5FF2DB}" destId="{AE495287-6F6B-44AC-A376-0E86CC25D51E}" srcOrd="2" destOrd="0" presId="urn:microsoft.com/office/officeart/2008/layout/LinedList"/>
    <dgm:cxn modelId="{79BA687B-8C1C-4D95-A620-3C86BF78F0EC}" type="presParOf" srcId="{020C98C9-24CB-4A55-AF90-4F68743A9BB4}" destId="{F4EDAA9F-C24E-4008-81D8-A7E78B7F1B18}" srcOrd="5" destOrd="0" presId="urn:microsoft.com/office/officeart/2008/layout/LinedList"/>
    <dgm:cxn modelId="{8EA58A62-FDED-4928-A945-A58F1067E566}" type="presParOf" srcId="{020C98C9-24CB-4A55-AF90-4F68743A9BB4}" destId="{3059C7C4-633C-4D46-B7CC-7D9EB61E2BCE}" srcOrd="6"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B0B5ED07-4D12-43A0-97D1-1333D20D6865}" type="doc">
      <dgm:prSet loTypeId="urn:microsoft.com/office/officeart/2005/8/layout/hierarchy1" loCatId="hierarchy" qsTypeId="urn:microsoft.com/office/officeart/2005/8/quickstyle/simple5" qsCatId="simple" csTypeId="urn:microsoft.com/office/officeart/2005/8/colors/accent1_2" csCatId="accent1"/>
      <dgm:spPr/>
      <dgm:t>
        <a:bodyPr/>
        <a:lstStyle/>
        <a:p>
          <a:endParaRPr lang="en-US"/>
        </a:p>
      </dgm:t>
    </dgm:pt>
    <dgm:pt modelId="{9BCBC16B-7EB1-4CCB-9541-F59CD3EF898C}">
      <dgm:prSet/>
      <dgm:spPr/>
      <dgm:t>
        <a:bodyPr/>
        <a:lstStyle/>
        <a:p>
          <a:r>
            <a:rPr lang="en-US" baseline="0"/>
            <a:t>We continually monitor resource usage on SharePoint Online and depending on usage, we fine-tune thresholds so users can consume the maximum number of resources without degrading the reliability and performance of SharePoint Online</a:t>
          </a:r>
          <a:endParaRPr lang="en-US"/>
        </a:p>
      </dgm:t>
    </dgm:pt>
    <dgm:pt modelId="{C6E0D105-118E-42E4-911C-67E7784341C3}" type="parTrans" cxnId="{7E1E15BF-6695-4A27-95DC-79BD8EFEAF0A}">
      <dgm:prSet/>
      <dgm:spPr/>
      <dgm:t>
        <a:bodyPr/>
        <a:lstStyle/>
        <a:p>
          <a:endParaRPr lang="en-US"/>
        </a:p>
      </dgm:t>
    </dgm:pt>
    <dgm:pt modelId="{D5DDA7A9-7AF3-40AD-8B10-C09BCB2D26A0}" type="sibTrans" cxnId="{7E1E15BF-6695-4A27-95DC-79BD8EFEAF0A}">
      <dgm:prSet/>
      <dgm:spPr/>
      <dgm:t>
        <a:bodyPr/>
        <a:lstStyle/>
        <a:p>
          <a:endParaRPr lang="en-US"/>
        </a:p>
      </dgm:t>
    </dgm:pt>
    <dgm:pt modelId="{9DE723FB-AA73-4495-A0C9-513DD982D308}">
      <dgm:prSet/>
      <dgm:spPr/>
      <dgm:t>
        <a:bodyPr/>
        <a:lstStyle/>
        <a:p>
          <a:r>
            <a:rPr lang="en-US" baseline="0"/>
            <a:t>That's why it's so important for your CSOM or REST code to honor the retry-after header value; this lets your code run as fast as possible on any given day, and it lets your code back off "just enough" if it hits throttling limits. </a:t>
          </a:r>
          <a:endParaRPr lang="en-US"/>
        </a:p>
      </dgm:t>
    </dgm:pt>
    <dgm:pt modelId="{E061B261-0A54-4E43-9C52-6F82643375A0}" type="parTrans" cxnId="{3948CE8B-033C-4D67-A069-BF1B80CDF272}">
      <dgm:prSet/>
      <dgm:spPr/>
      <dgm:t>
        <a:bodyPr/>
        <a:lstStyle/>
        <a:p>
          <a:endParaRPr lang="en-US"/>
        </a:p>
      </dgm:t>
    </dgm:pt>
    <dgm:pt modelId="{F84164DB-BD2A-4E6A-8642-19858BAAC5A6}" type="sibTrans" cxnId="{3948CE8B-033C-4D67-A069-BF1B80CDF272}">
      <dgm:prSet/>
      <dgm:spPr/>
      <dgm:t>
        <a:bodyPr/>
        <a:lstStyle/>
        <a:p>
          <a:endParaRPr lang="en-US"/>
        </a:p>
      </dgm:t>
    </dgm:pt>
    <dgm:pt modelId="{4B8F6061-B8B1-4112-B0B0-FCC4B2DA3154}" type="pres">
      <dgm:prSet presAssocID="{B0B5ED07-4D12-43A0-97D1-1333D20D6865}" presName="hierChild1" presStyleCnt="0">
        <dgm:presLayoutVars>
          <dgm:chPref val="1"/>
          <dgm:dir/>
          <dgm:animOne val="branch"/>
          <dgm:animLvl val="lvl"/>
          <dgm:resizeHandles/>
        </dgm:presLayoutVars>
      </dgm:prSet>
      <dgm:spPr/>
    </dgm:pt>
    <dgm:pt modelId="{4D9B6EFF-61FC-45C2-A6A1-EEEB4C51295F}" type="pres">
      <dgm:prSet presAssocID="{9BCBC16B-7EB1-4CCB-9541-F59CD3EF898C}" presName="hierRoot1" presStyleCnt="0"/>
      <dgm:spPr/>
    </dgm:pt>
    <dgm:pt modelId="{8A97CA91-5549-4758-843B-9A8F4C7E5FE4}" type="pres">
      <dgm:prSet presAssocID="{9BCBC16B-7EB1-4CCB-9541-F59CD3EF898C}" presName="composite" presStyleCnt="0"/>
      <dgm:spPr/>
    </dgm:pt>
    <dgm:pt modelId="{0FB698A2-21C6-4CFB-8322-8CD0A33D269F}" type="pres">
      <dgm:prSet presAssocID="{9BCBC16B-7EB1-4CCB-9541-F59CD3EF898C}" presName="background" presStyleLbl="node0" presStyleIdx="0" presStyleCnt="2"/>
      <dgm:spPr/>
    </dgm:pt>
    <dgm:pt modelId="{A5067DE2-9D10-4C6F-A89F-D9027E3136F3}" type="pres">
      <dgm:prSet presAssocID="{9BCBC16B-7EB1-4CCB-9541-F59CD3EF898C}" presName="text" presStyleLbl="fgAcc0" presStyleIdx="0" presStyleCnt="2">
        <dgm:presLayoutVars>
          <dgm:chPref val="3"/>
        </dgm:presLayoutVars>
      </dgm:prSet>
      <dgm:spPr/>
    </dgm:pt>
    <dgm:pt modelId="{DB539EDA-164A-4AF8-861E-3766702EB5B3}" type="pres">
      <dgm:prSet presAssocID="{9BCBC16B-7EB1-4CCB-9541-F59CD3EF898C}" presName="hierChild2" presStyleCnt="0"/>
      <dgm:spPr/>
    </dgm:pt>
    <dgm:pt modelId="{90CE2C0F-BA25-4C12-80A9-5E98B11F4FF8}" type="pres">
      <dgm:prSet presAssocID="{9DE723FB-AA73-4495-A0C9-513DD982D308}" presName="hierRoot1" presStyleCnt="0"/>
      <dgm:spPr/>
    </dgm:pt>
    <dgm:pt modelId="{B2B06A7C-244F-40DC-BD0F-1BAE428DDB7B}" type="pres">
      <dgm:prSet presAssocID="{9DE723FB-AA73-4495-A0C9-513DD982D308}" presName="composite" presStyleCnt="0"/>
      <dgm:spPr/>
    </dgm:pt>
    <dgm:pt modelId="{CF3685DD-6222-4237-9B6B-15CCC8E6F651}" type="pres">
      <dgm:prSet presAssocID="{9DE723FB-AA73-4495-A0C9-513DD982D308}" presName="background" presStyleLbl="node0" presStyleIdx="1" presStyleCnt="2"/>
      <dgm:spPr/>
    </dgm:pt>
    <dgm:pt modelId="{C81B12FC-CE8A-4DE7-800B-889AFEBFF8D4}" type="pres">
      <dgm:prSet presAssocID="{9DE723FB-AA73-4495-A0C9-513DD982D308}" presName="text" presStyleLbl="fgAcc0" presStyleIdx="1" presStyleCnt="2">
        <dgm:presLayoutVars>
          <dgm:chPref val="3"/>
        </dgm:presLayoutVars>
      </dgm:prSet>
      <dgm:spPr/>
    </dgm:pt>
    <dgm:pt modelId="{43CFC0FE-2627-4F60-9D6A-1C6493637C75}" type="pres">
      <dgm:prSet presAssocID="{9DE723FB-AA73-4495-A0C9-513DD982D308}" presName="hierChild2" presStyleCnt="0"/>
      <dgm:spPr/>
    </dgm:pt>
  </dgm:ptLst>
  <dgm:cxnLst>
    <dgm:cxn modelId="{379C6C32-B709-439B-8F41-BBB1FAC7D878}" type="presOf" srcId="{B0B5ED07-4D12-43A0-97D1-1333D20D6865}" destId="{4B8F6061-B8B1-4112-B0B0-FCC4B2DA3154}" srcOrd="0" destOrd="0" presId="urn:microsoft.com/office/officeart/2005/8/layout/hierarchy1"/>
    <dgm:cxn modelId="{3948CE8B-033C-4D67-A069-BF1B80CDF272}" srcId="{B0B5ED07-4D12-43A0-97D1-1333D20D6865}" destId="{9DE723FB-AA73-4495-A0C9-513DD982D308}" srcOrd="1" destOrd="0" parTransId="{E061B261-0A54-4E43-9C52-6F82643375A0}" sibTransId="{F84164DB-BD2A-4E6A-8642-19858BAAC5A6}"/>
    <dgm:cxn modelId="{D35513BD-6CA9-44AA-B27A-A5C190EDBF37}" type="presOf" srcId="{9BCBC16B-7EB1-4CCB-9541-F59CD3EF898C}" destId="{A5067DE2-9D10-4C6F-A89F-D9027E3136F3}" srcOrd="0" destOrd="0" presId="urn:microsoft.com/office/officeart/2005/8/layout/hierarchy1"/>
    <dgm:cxn modelId="{7E1E15BF-6695-4A27-95DC-79BD8EFEAF0A}" srcId="{B0B5ED07-4D12-43A0-97D1-1333D20D6865}" destId="{9BCBC16B-7EB1-4CCB-9541-F59CD3EF898C}" srcOrd="0" destOrd="0" parTransId="{C6E0D105-118E-42E4-911C-67E7784341C3}" sibTransId="{D5DDA7A9-7AF3-40AD-8B10-C09BCB2D26A0}"/>
    <dgm:cxn modelId="{AD8BC8C8-CA5B-4C44-A1A1-5F162DC847B7}" type="presOf" srcId="{9DE723FB-AA73-4495-A0C9-513DD982D308}" destId="{C81B12FC-CE8A-4DE7-800B-889AFEBFF8D4}" srcOrd="0" destOrd="0" presId="urn:microsoft.com/office/officeart/2005/8/layout/hierarchy1"/>
    <dgm:cxn modelId="{E175A6CC-43BE-4428-8298-3A211F3D3D58}" type="presParOf" srcId="{4B8F6061-B8B1-4112-B0B0-FCC4B2DA3154}" destId="{4D9B6EFF-61FC-45C2-A6A1-EEEB4C51295F}" srcOrd="0" destOrd="0" presId="urn:microsoft.com/office/officeart/2005/8/layout/hierarchy1"/>
    <dgm:cxn modelId="{D4AEF4E5-F4D9-4954-8E52-73DB9B26D726}" type="presParOf" srcId="{4D9B6EFF-61FC-45C2-A6A1-EEEB4C51295F}" destId="{8A97CA91-5549-4758-843B-9A8F4C7E5FE4}" srcOrd="0" destOrd="0" presId="urn:microsoft.com/office/officeart/2005/8/layout/hierarchy1"/>
    <dgm:cxn modelId="{D2BAD2BB-884A-4458-9871-FDBC63FB6195}" type="presParOf" srcId="{8A97CA91-5549-4758-843B-9A8F4C7E5FE4}" destId="{0FB698A2-21C6-4CFB-8322-8CD0A33D269F}" srcOrd="0" destOrd="0" presId="urn:microsoft.com/office/officeart/2005/8/layout/hierarchy1"/>
    <dgm:cxn modelId="{D64C17E8-34EE-4996-BF43-13B6E1EEE0E5}" type="presParOf" srcId="{8A97CA91-5549-4758-843B-9A8F4C7E5FE4}" destId="{A5067DE2-9D10-4C6F-A89F-D9027E3136F3}" srcOrd="1" destOrd="0" presId="urn:microsoft.com/office/officeart/2005/8/layout/hierarchy1"/>
    <dgm:cxn modelId="{86651D94-C04A-4773-AA50-6B59CDEAA8B5}" type="presParOf" srcId="{4D9B6EFF-61FC-45C2-A6A1-EEEB4C51295F}" destId="{DB539EDA-164A-4AF8-861E-3766702EB5B3}" srcOrd="1" destOrd="0" presId="urn:microsoft.com/office/officeart/2005/8/layout/hierarchy1"/>
    <dgm:cxn modelId="{B4876182-43EC-42ED-A056-0B128677F301}" type="presParOf" srcId="{4B8F6061-B8B1-4112-B0B0-FCC4B2DA3154}" destId="{90CE2C0F-BA25-4C12-80A9-5E98B11F4FF8}" srcOrd="1" destOrd="0" presId="urn:microsoft.com/office/officeart/2005/8/layout/hierarchy1"/>
    <dgm:cxn modelId="{10A50C33-2D08-4EB1-BF1A-377A9711E408}" type="presParOf" srcId="{90CE2C0F-BA25-4C12-80A9-5E98B11F4FF8}" destId="{B2B06A7C-244F-40DC-BD0F-1BAE428DDB7B}" srcOrd="0" destOrd="0" presId="urn:microsoft.com/office/officeart/2005/8/layout/hierarchy1"/>
    <dgm:cxn modelId="{55969230-52CB-4166-8E00-4D380B0BDC67}" type="presParOf" srcId="{B2B06A7C-244F-40DC-BD0F-1BAE428DDB7B}" destId="{CF3685DD-6222-4237-9B6B-15CCC8E6F651}" srcOrd="0" destOrd="0" presId="urn:microsoft.com/office/officeart/2005/8/layout/hierarchy1"/>
    <dgm:cxn modelId="{857E6AF6-19F6-4AD6-8CA0-E3C966A463C7}" type="presParOf" srcId="{B2B06A7C-244F-40DC-BD0F-1BAE428DDB7B}" destId="{C81B12FC-CE8A-4DE7-800B-889AFEBFF8D4}" srcOrd="1" destOrd="0" presId="urn:microsoft.com/office/officeart/2005/8/layout/hierarchy1"/>
    <dgm:cxn modelId="{90179DF3-85EE-48BA-8918-58FE522749E8}" type="presParOf" srcId="{90CE2C0F-BA25-4C12-80A9-5E98B11F4FF8}" destId="{43CFC0FE-2627-4F60-9D6A-1C6493637C75}"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A5A030D8-46EC-4135-BD73-72E1604A61D0}" type="doc">
      <dgm:prSet loTypeId="urn:microsoft.com/office/officeart/2005/8/layout/list1" loCatId="list" qsTypeId="urn:microsoft.com/office/officeart/2005/8/quickstyle/simple1" qsCatId="simple" csTypeId="urn:microsoft.com/office/officeart/2005/8/colors/accent2_1" csCatId="accent2" phldr="1"/>
      <dgm:spPr/>
      <dgm:t>
        <a:bodyPr/>
        <a:lstStyle/>
        <a:p>
          <a:endParaRPr lang="en-US"/>
        </a:p>
      </dgm:t>
    </dgm:pt>
    <dgm:pt modelId="{A5F52E91-A53D-4806-9CB7-828F4C704B70}">
      <dgm:prSet custT="1"/>
      <dgm:spPr/>
      <dgm:t>
        <a:bodyPr/>
        <a:lstStyle/>
        <a:p>
          <a:r>
            <a:rPr lang="en-US" sz="1800" dirty="0"/>
            <a:t>What is the recommended limit of the number of custom JSOM and Rest API calls to SharePoint?</a:t>
          </a:r>
          <a:endParaRPr lang="nb-NO" sz="1800" dirty="0"/>
        </a:p>
      </dgm:t>
    </dgm:pt>
    <dgm:pt modelId="{B6D8949E-A5ED-4D8D-B46D-731CC3B5C485}" type="parTrans" cxnId="{65002DEC-E95B-475D-9B13-DFBF58C77EEC}">
      <dgm:prSet/>
      <dgm:spPr/>
      <dgm:t>
        <a:bodyPr/>
        <a:lstStyle/>
        <a:p>
          <a:endParaRPr lang="en-US" sz="1800"/>
        </a:p>
      </dgm:t>
    </dgm:pt>
    <dgm:pt modelId="{BB9B01DF-DB24-4F9B-AFC2-3F3A77588F43}" type="sibTrans" cxnId="{65002DEC-E95B-475D-9B13-DFBF58C77EEC}">
      <dgm:prSet/>
      <dgm:spPr/>
      <dgm:t>
        <a:bodyPr/>
        <a:lstStyle/>
        <a:p>
          <a:endParaRPr lang="en-US" sz="1800"/>
        </a:p>
      </dgm:t>
    </dgm:pt>
    <dgm:pt modelId="{BE7BDD8D-8488-4EE9-A33E-ADA602FEA896}">
      <dgm:prSet custT="1"/>
      <dgm:spPr/>
      <dgm:t>
        <a:bodyPr/>
        <a:lstStyle/>
        <a:p>
          <a:r>
            <a:rPr lang="en-US" sz="1800" dirty="0"/>
            <a:t>Which type of site navigation is not recommended for publishing portals, especially with portals with deeply nested site structure?</a:t>
          </a:r>
          <a:endParaRPr lang="nb-NO" sz="1800" dirty="0"/>
        </a:p>
      </dgm:t>
    </dgm:pt>
    <dgm:pt modelId="{F338CCBA-65F7-4B29-B9C2-2B50B0100234}" type="parTrans" cxnId="{57B11C75-BAAE-476B-A377-A5F8BA8B4B46}">
      <dgm:prSet/>
      <dgm:spPr/>
      <dgm:t>
        <a:bodyPr/>
        <a:lstStyle/>
        <a:p>
          <a:endParaRPr lang="en-US" sz="1800"/>
        </a:p>
      </dgm:t>
    </dgm:pt>
    <dgm:pt modelId="{9CAC499A-260A-437C-BCE9-9E97978EFBFD}" type="sibTrans" cxnId="{57B11C75-BAAE-476B-A377-A5F8BA8B4B46}">
      <dgm:prSet/>
      <dgm:spPr/>
      <dgm:t>
        <a:bodyPr/>
        <a:lstStyle/>
        <a:p>
          <a:endParaRPr lang="en-US" sz="1800"/>
        </a:p>
      </dgm:t>
    </dgm:pt>
    <dgm:pt modelId="{5F4059EC-9CC0-484C-82B9-A7FFE4820633}">
      <dgm:prSet custT="1"/>
      <dgm:spPr/>
      <dgm:t>
        <a:bodyPr/>
        <a:lstStyle/>
        <a:p>
          <a:r>
            <a:rPr lang="en-US" sz="1800" dirty="0"/>
            <a:t>What are some recommended ways to avoid being throttled when using custom code to make JSOM and Rest API calls to SharePoint?</a:t>
          </a:r>
          <a:endParaRPr lang="nb-NO" sz="1800" dirty="0"/>
        </a:p>
      </dgm:t>
    </dgm:pt>
    <dgm:pt modelId="{36ADC24B-7A31-4EE2-9079-DB5D7BD17853}" type="parTrans" cxnId="{95D4FCF3-F7C9-482F-BD8A-5423EB219694}">
      <dgm:prSet/>
      <dgm:spPr/>
      <dgm:t>
        <a:bodyPr/>
        <a:lstStyle/>
        <a:p>
          <a:endParaRPr lang="en-US" sz="1800"/>
        </a:p>
      </dgm:t>
    </dgm:pt>
    <dgm:pt modelId="{92140614-F032-4EED-B1AC-F16E8513C8C8}" type="sibTrans" cxnId="{95D4FCF3-F7C9-482F-BD8A-5423EB219694}">
      <dgm:prSet/>
      <dgm:spPr/>
      <dgm:t>
        <a:bodyPr/>
        <a:lstStyle/>
        <a:p>
          <a:endParaRPr lang="en-US" sz="1800"/>
        </a:p>
      </dgm:t>
    </dgm:pt>
    <dgm:pt modelId="{CF54C62C-1A08-4116-82CB-C955621B5951}">
      <dgm:prSet custT="1"/>
      <dgm:spPr/>
      <dgm:t>
        <a:bodyPr/>
        <a:lstStyle/>
        <a:p>
          <a:r>
            <a:rPr lang="en-US" sz="1800" dirty="0"/>
            <a:t>Classic pages 6 or fewer (per page load)</a:t>
          </a:r>
          <a:endParaRPr lang="nb-NO" sz="1800" dirty="0"/>
        </a:p>
      </dgm:t>
    </dgm:pt>
    <dgm:pt modelId="{D80B94D1-4837-4EE5-8AB8-C03EEE3514E7}" type="parTrans" cxnId="{0D56AB76-4777-4D42-9BB4-A6F44F705EFF}">
      <dgm:prSet/>
      <dgm:spPr/>
      <dgm:t>
        <a:bodyPr/>
        <a:lstStyle/>
        <a:p>
          <a:endParaRPr lang="en-US" sz="1800"/>
        </a:p>
      </dgm:t>
    </dgm:pt>
    <dgm:pt modelId="{E0959C38-8A12-431D-A421-C6C639EF2E57}" type="sibTrans" cxnId="{0D56AB76-4777-4D42-9BB4-A6F44F705EFF}">
      <dgm:prSet/>
      <dgm:spPr/>
      <dgm:t>
        <a:bodyPr/>
        <a:lstStyle/>
        <a:p>
          <a:endParaRPr lang="en-US" sz="1800"/>
        </a:p>
      </dgm:t>
    </dgm:pt>
    <dgm:pt modelId="{4AD151BA-1519-4184-B4FA-5A9959FD1218}">
      <dgm:prSet custT="1"/>
      <dgm:spPr/>
      <dgm:t>
        <a:bodyPr/>
        <a:lstStyle/>
        <a:p>
          <a:r>
            <a:rPr lang="en-US" sz="1800" dirty="0"/>
            <a:t>Structured navigation</a:t>
          </a:r>
          <a:endParaRPr lang="nb-NO" sz="1800" dirty="0"/>
        </a:p>
      </dgm:t>
    </dgm:pt>
    <dgm:pt modelId="{143FA7A9-B7F9-4501-B8A1-50F58494413D}" type="parTrans" cxnId="{22BD36C5-FAA6-448C-B8CC-A743A34FC320}">
      <dgm:prSet/>
      <dgm:spPr/>
      <dgm:t>
        <a:bodyPr/>
        <a:lstStyle/>
        <a:p>
          <a:endParaRPr lang="en-US" sz="1800"/>
        </a:p>
      </dgm:t>
    </dgm:pt>
    <dgm:pt modelId="{D0A1A0E6-6433-43E0-8806-89AFE665510D}" type="sibTrans" cxnId="{22BD36C5-FAA6-448C-B8CC-A743A34FC320}">
      <dgm:prSet/>
      <dgm:spPr/>
      <dgm:t>
        <a:bodyPr/>
        <a:lstStyle/>
        <a:p>
          <a:endParaRPr lang="en-US" sz="1800"/>
        </a:p>
      </dgm:t>
    </dgm:pt>
    <dgm:pt modelId="{AF7F49A1-2112-4F0E-A724-41AE60037B81}">
      <dgm:prSet custT="1"/>
      <dgm:spPr/>
      <dgm:t>
        <a:bodyPr/>
        <a:lstStyle/>
        <a:p>
          <a:r>
            <a:rPr lang="en-US" sz="1800" dirty="0"/>
            <a:t>Reduce the number of operations per request</a:t>
          </a:r>
          <a:endParaRPr lang="nb-NO" sz="1800" dirty="0"/>
        </a:p>
      </dgm:t>
    </dgm:pt>
    <dgm:pt modelId="{D46360A5-9858-49B8-9208-89BE8321118F}" type="parTrans" cxnId="{5EA34E8E-F14F-427D-9DB3-E6F1F84E0DF7}">
      <dgm:prSet/>
      <dgm:spPr/>
      <dgm:t>
        <a:bodyPr/>
        <a:lstStyle/>
        <a:p>
          <a:endParaRPr lang="en-US" sz="1800"/>
        </a:p>
      </dgm:t>
    </dgm:pt>
    <dgm:pt modelId="{CD41C273-862F-4322-8E23-C455B1D01A6E}" type="sibTrans" cxnId="{5EA34E8E-F14F-427D-9DB3-E6F1F84E0DF7}">
      <dgm:prSet/>
      <dgm:spPr/>
      <dgm:t>
        <a:bodyPr/>
        <a:lstStyle/>
        <a:p>
          <a:endParaRPr lang="en-US" sz="1800"/>
        </a:p>
      </dgm:t>
    </dgm:pt>
    <dgm:pt modelId="{28C8A356-5438-48AC-841C-99AD85CD1A75}">
      <dgm:prSet custT="1"/>
      <dgm:spPr/>
      <dgm:t>
        <a:bodyPr/>
        <a:lstStyle/>
        <a:p>
          <a:r>
            <a:rPr lang="en-US" sz="1800" dirty="0"/>
            <a:t>Reduce the frequency of calls</a:t>
          </a:r>
          <a:endParaRPr lang="nb-NO" sz="1800" dirty="0"/>
        </a:p>
      </dgm:t>
    </dgm:pt>
    <dgm:pt modelId="{1CA5D3A5-96B0-4E08-9E14-B99A9786C346}" type="parTrans" cxnId="{E146CC5B-E779-443F-9DDA-23FB7D32D5A8}">
      <dgm:prSet/>
      <dgm:spPr/>
      <dgm:t>
        <a:bodyPr/>
        <a:lstStyle/>
        <a:p>
          <a:endParaRPr lang="en-US" sz="1800"/>
        </a:p>
      </dgm:t>
    </dgm:pt>
    <dgm:pt modelId="{45DC3CF1-FD28-4857-B93B-14671E4B5110}" type="sibTrans" cxnId="{E146CC5B-E779-443F-9DDA-23FB7D32D5A8}">
      <dgm:prSet/>
      <dgm:spPr/>
      <dgm:t>
        <a:bodyPr/>
        <a:lstStyle/>
        <a:p>
          <a:endParaRPr lang="en-US" sz="1800"/>
        </a:p>
      </dgm:t>
    </dgm:pt>
    <dgm:pt modelId="{5E57676A-75A3-45A2-953B-CAC30C06BC41}">
      <dgm:prSet custT="1"/>
      <dgm:spPr/>
      <dgm:t>
        <a:bodyPr/>
        <a:lstStyle/>
        <a:p>
          <a:r>
            <a:rPr lang="en-US" sz="1800" dirty="0"/>
            <a:t>Decorate your traffic so we know who you are</a:t>
          </a:r>
          <a:endParaRPr lang="nb-NO" sz="1800" dirty="0"/>
        </a:p>
      </dgm:t>
    </dgm:pt>
    <dgm:pt modelId="{53A4D748-001C-45E3-8870-15DA0A952B7D}" type="parTrans" cxnId="{9D8657F8-9D16-4FFC-9558-3377BFFCBC92}">
      <dgm:prSet/>
      <dgm:spPr/>
      <dgm:t>
        <a:bodyPr/>
        <a:lstStyle/>
        <a:p>
          <a:endParaRPr lang="en-US" sz="1800"/>
        </a:p>
      </dgm:t>
    </dgm:pt>
    <dgm:pt modelId="{855D93D9-D4DC-4E2C-91DD-8BCB8DFB5801}" type="sibTrans" cxnId="{9D8657F8-9D16-4FFC-9558-3377BFFCBC92}">
      <dgm:prSet/>
      <dgm:spPr/>
      <dgm:t>
        <a:bodyPr/>
        <a:lstStyle/>
        <a:p>
          <a:endParaRPr lang="en-US" sz="1800"/>
        </a:p>
      </dgm:t>
    </dgm:pt>
    <dgm:pt modelId="{D4DC8E9C-06FC-4A32-9A2E-619B5A92482A}">
      <dgm:prSet custT="1"/>
      <dgm:spPr/>
      <dgm:t>
        <a:bodyPr/>
        <a:lstStyle/>
        <a:p>
          <a:r>
            <a:rPr lang="en-US" sz="1800" dirty="0"/>
            <a:t>Leverage the retry-after header</a:t>
          </a:r>
          <a:endParaRPr lang="nb-NO" sz="1800" dirty="0"/>
        </a:p>
      </dgm:t>
    </dgm:pt>
    <dgm:pt modelId="{D3DB4149-EC04-476B-A974-BFB4E72BCB2D}" type="parTrans" cxnId="{D4F1D764-1DBE-41E9-923D-60DEADC1D7F9}">
      <dgm:prSet/>
      <dgm:spPr/>
      <dgm:t>
        <a:bodyPr/>
        <a:lstStyle/>
        <a:p>
          <a:endParaRPr lang="en-US" sz="1800"/>
        </a:p>
      </dgm:t>
    </dgm:pt>
    <dgm:pt modelId="{D0555C88-CD82-4F5B-A0CA-4D199B12ECA9}" type="sibTrans" cxnId="{D4F1D764-1DBE-41E9-923D-60DEADC1D7F9}">
      <dgm:prSet/>
      <dgm:spPr/>
      <dgm:t>
        <a:bodyPr/>
        <a:lstStyle/>
        <a:p>
          <a:endParaRPr lang="en-US" sz="1800"/>
        </a:p>
      </dgm:t>
    </dgm:pt>
    <dgm:pt modelId="{1F9444E8-1F81-403D-857F-FA41346A34EF}">
      <dgm:prSet custT="1"/>
      <dgm:spPr/>
      <dgm:t>
        <a:bodyPr/>
        <a:lstStyle/>
        <a:p>
          <a:r>
            <a:rPr lang="en-US" sz="1800" dirty="0"/>
            <a:t>Modern pages 25 or fewer (per page load)  </a:t>
          </a:r>
          <a:endParaRPr lang="nb-NO" sz="1800" dirty="0"/>
        </a:p>
      </dgm:t>
    </dgm:pt>
    <dgm:pt modelId="{B038D7EA-DEA4-4C1F-A7F2-5127D163F1F0}" type="parTrans" cxnId="{773074B2-A549-4B05-80AD-3BD37EDE610D}">
      <dgm:prSet/>
      <dgm:spPr/>
      <dgm:t>
        <a:bodyPr/>
        <a:lstStyle/>
        <a:p>
          <a:endParaRPr lang="en-US" sz="1800"/>
        </a:p>
      </dgm:t>
    </dgm:pt>
    <dgm:pt modelId="{CB5743D4-374E-4D22-9A08-E23CB3F4D88F}" type="sibTrans" cxnId="{773074B2-A549-4B05-80AD-3BD37EDE610D}">
      <dgm:prSet/>
      <dgm:spPr/>
      <dgm:t>
        <a:bodyPr/>
        <a:lstStyle/>
        <a:p>
          <a:endParaRPr lang="en-US" sz="1800"/>
        </a:p>
      </dgm:t>
    </dgm:pt>
    <dgm:pt modelId="{9A34868A-CA7D-4780-8D08-B3338F6A7393}" type="pres">
      <dgm:prSet presAssocID="{A5A030D8-46EC-4135-BD73-72E1604A61D0}" presName="linear" presStyleCnt="0">
        <dgm:presLayoutVars>
          <dgm:dir/>
          <dgm:animLvl val="lvl"/>
          <dgm:resizeHandles val="exact"/>
        </dgm:presLayoutVars>
      </dgm:prSet>
      <dgm:spPr/>
    </dgm:pt>
    <dgm:pt modelId="{A62D42BA-64A9-4E35-B019-1799D4E15A06}" type="pres">
      <dgm:prSet presAssocID="{A5F52E91-A53D-4806-9CB7-828F4C704B70}" presName="parentLin" presStyleCnt="0"/>
      <dgm:spPr/>
    </dgm:pt>
    <dgm:pt modelId="{31E78216-A2EB-4D09-B357-7502AC46EA6F}" type="pres">
      <dgm:prSet presAssocID="{A5F52E91-A53D-4806-9CB7-828F4C704B70}" presName="parentLeftMargin" presStyleLbl="node1" presStyleIdx="0" presStyleCnt="3"/>
      <dgm:spPr/>
    </dgm:pt>
    <dgm:pt modelId="{ADB983CD-EF20-471C-964F-B520DCF4D3FE}" type="pres">
      <dgm:prSet presAssocID="{A5F52E91-A53D-4806-9CB7-828F4C704B70}" presName="parentText" presStyleLbl="node1" presStyleIdx="0" presStyleCnt="3">
        <dgm:presLayoutVars>
          <dgm:chMax val="0"/>
          <dgm:bulletEnabled val="1"/>
        </dgm:presLayoutVars>
      </dgm:prSet>
      <dgm:spPr/>
    </dgm:pt>
    <dgm:pt modelId="{434245A9-C244-42E9-B36E-0C735648EEE4}" type="pres">
      <dgm:prSet presAssocID="{A5F52E91-A53D-4806-9CB7-828F4C704B70}" presName="negativeSpace" presStyleCnt="0"/>
      <dgm:spPr/>
    </dgm:pt>
    <dgm:pt modelId="{67B7BF28-9EB4-4EAF-A69D-58B0FE84BB9E}" type="pres">
      <dgm:prSet presAssocID="{A5F52E91-A53D-4806-9CB7-828F4C704B70}" presName="childText" presStyleLbl="conFgAcc1" presStyleIdx="0" presStyleCnt="3">
        <dgm:presLayoutVars>
          <dgm:bulletEnabled val="1"/>
        </dgm:presLayoutVars>
      </dgm:prSet>
      <dgm:spPr/>
    </dgm:pt>
    <dgm:pt modelId="{3A0A4FC6-EFB0-40F5-A572-70BE64E68F5F}" type="pres">
      <dgm:prSet presAssocID="{BB9B01DF-DB24-4F9B-AFC2-3F3A77588F43}" presName="spaceBetweenRectangles" presStyleCnt="0"/>
      <dgm:spPr/>
    </dgm:pt>
    <dgm:pt modelId="{5ACB67E7-E808-4D67-BD1D-52ADE51B3049}" type="pres">
      <dgm:prSet presAssocID="{BE7BDD8D-8488-4EE9-A33E-ADA602FEA896}" presName="parentLin" presStyleCnt="0"/>
      <dgm:spPr/>
    </dgm:pt>
    <dgm:pt modelId="{8ABA7AE4-251C-45EA-AF3F-073F26E328A6}" type="pres">
      <dgm:prSet presAssocID="{BE7BDD8D-8488-4EE9-A33E-ADA602FEA896}" presName="parentLeftMargin" presStyleLbl="node1" presStyleIdx="0" presStyleCnt="3"/>
      <dgm:spPr/>
    </dgm:pt>
    <dgm:pt modelId="{FB9B9A09-DE7B-42EC-B9DE-EC481931C524}" type="pres">
      <dgm:prSet presAssocID="{BE7BDD8D-8488-4EE9-A33E-ADA602FEA896}" presName="parentText" presStyleLbl="node1" presStyleIdx="1" presStyleCnt="3">
        <dgm:presLayoutVars>
          <dgm:chMax val="0"/>
          <dgm:bulletEnabled val="1"/>
        </dgm:presLayoutVars>
      </dgm:prSet>
      <dgm:spPr/>
    </dgm:pt>
    <dgm:pt modelId="{91EBD08B-8FA2-4DDF-9580-D50AC9A00CBD}" type="pres">
      <dgm:prSet presAssocID="{BE7BDD8D-8488-4EE9-A33E-ADA602FEA896}" presName="negativeSpace" presStyleCnt="0"/>
      <dgm:spPr/>
    </dgm:pt>
    <dgm:pt modelId="{FB3F1349-3785-4E6E-9708-EBE55C1DC01C}" type="pres">
      <dgm:prSet presAssocID="{BE7BDD8D-8488-4EE9-A33E-ADA602FEA896}" presName="childText" presStyleLbl="conFgAcc1" presStyleIdx="1" presStyleCnt="3">
        <dgm:presLayoutVars>
          <dgm:bulletEnabled val="1"/>
        </dgm:presLayoutVars>
      </dgm:prSet>
      <dgm:spPr/>
    </dgm:pt>
    <dgm:pt modelId="{4B21291A-357E-4091-92C4-AA0FFC77EE04}" type="pres">
      <dgm:prSet presAssocID="{9CAC499A-260A-437C-BCE9-9E97978EFBFD}" presName="spaceBetweenRectangles" presStyleCnt="0"/>
      <dgm:spPr/>
    </dgm:pt>
    <dgm:pt modelId="{E5B95C66-653B-4DF9-87FF-4618A2D6610B}" type="pres">
      <dgm:prSet presAssocID="{5F4059EC-9CC0-484C-82B9-A7FFE4820633}" presName="parentLin" presStyleCnt="0"/>
      <dgm:spPr/>
    </dgm:pt>
    <dgm:pt modelId="{D1AF9E84-1B97-4420-8C04-A735BF749917}" type="pres">
      <dgm:prSet presAssocID="{5F4059EC-9CC0-484C-82B9-A7FFE4820633}" presName="parentLeftMargin" presStyleLbl="node1" presStyleIdx="1" presStyleCnt="3"/>
      <dgm:spPr/>
    </dgm:pt>
    <dgm:pt modelId="{BD4E8ECE-7125-4BA4-A023-9F900BC521BD}" type="pres">
      <dgm:prSet presAssocID="{5F4059EC-9CC0-484C-82B9-A7FFE4820633}" presName="parentText" presStyleLbl="node1" presStyleIdx="2" presStyleCnt="3">
        <dgm:presLayoutVars>
          <dgm:chMax val="0"/>
          <dgm:bulletEnabled val="1"/>
        </dgm:presLayoutVars>
      </dgm:prSet>
      <dgm:spPr/>
    </dgm:pt>
    <dgm:pt modelId="{6D79D087-B161-4961-88C4-E7937EBB1D93}" type="pres">
      <dgm:prSet presAssocID="{5F4059EC-9CC0-484C-82B9-A7FFE4820633}" presName="negativeSpace" presStyleCnt="0"/>
      <dgm:spPr/>
    </dgm:pt>
    <dgm:pt modelId="{19D83D99-684B-4D85-A42D-E1927F006482}" type="pres">
      <dgm:prSet presAssocID="{5F4059EC-9CC0-484C-82B9-A7FFE4820633}" presName="childText" presStyleLbl="conFgAcc1" presStyleIdx="2" presStyleCnt="3">
        <dgm:presLayoutVars>
          <dgm:bulletEnabled val="1"/>
        </dgm:presLayoutVars>
      </dgm:prSet>
      <dgm:spPr/>
    </dgm:pt>
  </dgm:ptLst>
  <dgm:cxnLst>
    <dgm:cxn modelId="{9E8AEE01-6EAB-4C5E-8204-FA6087A283D4}" type="presOf" srcId="{A5A030D8-46EC-4135-BD73-72E1604A61D0}" destId="{9A34868A-CA7D-4780-8D08-B3338F6A7393}" srcOrd="0" destOrd="0" presId="urn:microsoft.com/office/officeart/2005/8/layout/list1"/>
    <dgm:cxn modelId="{C0F47309-3B76-4CAC-B45D-B76790A4D12C}" type="presOf" srcId="{5F4059EC-9CC0-484C-82B9-A7FFE4820633}" destId="{D1AF9E84-1B97-4420-8C04-A735BF749917}" srcOrd="0" destOrd="0" presId="urn:microsoft.com/office/officeart/2005/8/layout/list1"/>
    <dgm:cxn modelId="{76772D0F-7167-4ADE-97B4-B35F70DEB89B}" type="presOf" srcId="{1F9444E8-1F81-403D-857F-FA41346A34EF}" destId="{67B7BF28-9EB4-4EAF-A69D-58B0FE84BB9E}" srcOrd="0" destOrd="1" presId="urn:microsoft.com/office/officeart/2005/8/layout/list1"/>
    <dgm:cxn modelId="{149FE31E-C54F-4EF3-B59E-BD72970D3188}" type="presOf" srcId="{CF54C62C-1A08-4116-82CB-C955621B5951}" destId="{67B7BF28-9EB4-4EAF-A69D-58B0FE84BB9E}" srcOrd="0" destOrd="0" presId="urn:microsoft.com/office/officeart/2005/8/layout/list1"/>
    <dgm:cxn modelId="{5AD3FD2D-9BB4-43BB-AFF8-6E57AB78DD97}" type="presOf" srcId="{A5F52E91-A53D-4806-9CB7-828F4C704B70}" destId="{ADB983CD-EF20-471C-964F-B520DCF4D3FE}" srcOrd="1" destOrd="0" presId="urn:microsoft.com/office/officeart/2005/8/layout/list1"/>
    <dgm:cxn modelId="{E146CC5B-E779-443F-9DDA-23FB7D32D5A8}" srcId="{5F4059EC-9CC0-484C-82B9-A7FFE4820633}" destId="{28C8A356-5438-48AC-841C-99AD85CD1A75}" srcOrd="1" destOrd="0" parTransId="{1CA5D3A5-96B0-4E08-9E14-B99A9786C346}" sibTransId="{45DC3CF1-FD28-4857-B93B-14671E4B5110}"/>
    <dgm:cxn modelId="{9DDFA761-A566-4E6E-A031-C9B54BFCE16A}" type="presOf" srcId="{BE7BDD8D-8488-4EE9-A33E-ADA602FEA896}" destId="{FB9B9A09-DE7B-42EC-B9DE-EC481931C524}" srcOrd="1" destOrd="0" presId="urn:microsoft.com/office/officeart/2005/8/layout/list1"/>
    <dgm:cxn modelId="{D4F1D764-1DBE-41E9-923D-60DEADC1D7F9}" srcId="{5F4059EC-9CC0-484C-82B9-A7FFE4820633}" destId="{D4DC8E9C-06FC-4A32-9A2E-619B5A92482A}" srcOrd="3" destOrd="0" parTransId="{D3DB4149-EC04-476B-A974-BFB4E72BCB2D}" sibTransId="{D0555C88-CD82-4F5B-A0CA-4D199B12ECA9}"/>
    <dgm:cxn modelId="{AEBC4767-C915-4B9F-8869-722BE836A4A2}" type="presOf" srcId="{4AD151BA-1519-4184-B4FA-5A9959FD1218}" destId="{FB3F1349-3785-4E6E-9708-EBE55C1DC01C}" srcOrd="0" destOrd="0" presId="urn:microsoft.com/office/officeart/2005/8/layout/list1"/>
    <dgm:cxn modelId="{7F0E7149-E20D-4D0B-A158-6C7CCF67463E}" type="presOf" srcId="{BE7BDD8D-8488-4EE9-A33E-ADA602FEA896}" destId="{8ABA7AE4-251C-45EA-AF3F-073F26E328A6}" srcOrd="0" destOrd="0" presId="urn:microsoft.com/office/officeart/2005/8/layout/list1"/>
    <dgm:cxn modelId="{25D12A70-1224-41B9-A943-5F90B9F180AA}" type="presOf" srcId="{AF7F49A1-2112-4F0E-A724-41AE60037B81}" destId="{19D83D99-684B-4D85-A42D-E1927F006482}" srcOrd="0" destOrd="0" presId="urn:microsoft.com/office/officeart/2005/8/layout/list1"/>
    <dgm:cxn modelId="{57B11C75-BAAE-476B-A377-A5F8BA8B4B46}" srcId="{A5A030D8-46EC-4135-BD73-72E1604A61D0}" destId="{BE7BDD8D-8488-4EE9-A33E-ADA602FEA896}" srcOrd="1" destOrd="0" parTransId="{F338CCBA-65F7-4B29-B9C2-2B50B0100234}" sibTransId="{9CAC499A-260A-437C-BCE9-9E97978EFBFD}"/>
    <dgm:cxn modelId="{0D56AB76-4777-4D42-9BB4-A6F44F705EFF}" srcId="{A5F52E91-A53D-4806-9CB7-828F4C704B70}" destId="{CF54C62C-1A08-4116-82CB-C955621B5951}" srcOrd="0" destOrd="0" parTransId="{D80B94D1-4837-4EE5-8AB8-C03EEE3514E7}" sibTransId="{E0959C38-8A12-431D-A421-C6C639EF2E57}"/>
    <dgm:cxn modelId="{33FB3578-32D6-4287-B65A-C55A95D9917A}" type="presOf" srcId="{28C8A356-5438-48AC-841C-99AD85CD1A75}" destId="{19D83D99-684B-4D85-A42D-E1927F006482}" srcOrd="0" destOrd="1" presId="urn:microsoft.com/office/officeart/2005/8/layout/list1"/>
    <dgm:cxn modelId="{5EA34E8E-F14F-427D-9DB3-E6F1F84E0DF7}" srcId="{5F4059EC-9CC0-484C-82B9-A7FFE4820633}" destId="{AF7F49A1-2112-4F0E-A724-41AE60037B81}" srcOrd="0" destOrd="0" parTransId="{D46360A5-9858-49B8-9208-89BE8321118F}" sibTransId="{CD41C273-862F-4322-8E23-C455B1D01A6E}"/>
    <dgm:cxn modelId="{773074B2-A549-4B05-80AD-3BD37EDE610D}" srcId="{A5F52E91-A53D-4806-9CB7-828F4C704B70}" destId="{1F9444E8-1F81-403D-857F-FA41346A34EF}" srcOrd="1" destOrd="0" parTransId="{B038D7EA-DEA4-4C1F-A7F2-5127D163F1F0}" sibTransId="{CB5743D4-374E-4D22-9A08-E23CB3F4D88F}"/>
    <dgm:cxn modelId="{EFDED4B3-8010-46A5-BE9A-C58E034AACC9}" type="presOf" srcId="{D4DC8E9C-06FC-4A32-9A2E-619B5A92482A}" destId="{19D83D99-684B-4D85-A42D-E1927F006482}" srcOrd="0" destOrd="3" presId="urn:microsoft.com/office/officeart/2005/8/layout/list1"/>
    <dgm:cxn modelId="{43168CC3-CA14-4974-978C-8A0C8D2E777C}" type="presOf" srcId="{A5F52E91-A53D-4806-9CB7-828F4C704B70}" destId="{31E78216-A2EB-4D09-B357-7502AC46EA6F}" srcOrd="0" destOrd="0" presId="urn:microsoft.com/office/officeart/2005/8/layout/list1"/>
    <dgm:cxn modelId="{22BD36C5-FAA6-448C-B8CC-A743A34FC320}" srcId="{BE7BDD8D-8488-4EE9-A33E-ADA602FEA896}" destId="{4AD151BA-1519-4184-B4FA-5A9959FD1218}" srcOrd="0" destOrd="0" parTransId="{143FA7A9-B7F9-4501-B8A1-50F58494413D}" sibTransId="{D0A1A0E6-6433-43E0-8806-89AFE665510D}"/>
    <dgm:cxn modelId="{EB4E3BE4-AEC9-47A9-B489-FAFE6CEEC662}" type="presOf" srcId="{5E57676A-75A3-45A2-953B-CAC30C06BC41}" destId="{19D83D99-684B-4D85-A42D-E1927F006482}" srcOrd="0" destOrd="2" presId="urn:microsoft.com/office/officeart/2005/8/layout/list1"/>
    <dgm:cxn modelId="{F7B2C8E9-3FB9-4213-B6E4-8506B8590BA1}" type="presOf" srcId="{5F4059EC-9CC0-484C-82B9-A7FFE4820633}" destId="{BD4E8ECE-7125-4BA4-A023-9F900BC521BD}" srcOrd="1" destOrd="0" presId="urn:microsoft.com/office/officeart/2005/8/layout/list1"/>
    <dgm:cxn modelId="{65002DEC-E95B-475D-9B13-DFBF58C77EEC}" srcId="{A5A030D8-46EC-4135-BD73-72E1604A61D0}" destId="{A5F52E91-A53D-4806-9CB7-828F4C704B70}" srcOrd="0" destOrd="0" parTransId="{B6D8949E-A5ED-4D8D-B46D-731CC3B5C485}" sibTransId="{BB9B01DF-DB24-4F9B-AFC2-3F3A77588F43}"/>
    <dgm:cxn modelId="{95D4FCF3-F7C9-482F-BD8A-5423EB219694}" srcId="{A5A030D8-46EC-4135-BD73-72E1604A61D0}" destId="{5F4059EC-9CC0-484C-82B9-A7FFE4820633}" srcOrd="2" destOrd="0" parTransId="{36ADC24B-7A31-4EE2-9079-DB5D7BD17853}" sibTransId="{92140614-F032-4EED-B1AC-F16E8513C8C8}"/>
    <dgm:cxn modelId="{9D8657F8-9D16-4FFC-9558-3377BFFCBC92}" srcId="{5F4059EC-9CC0-484C-82B9-A7FFE4820633}" destId="{5E57676A-75A3-45A2-953B-CAC30C06BC41}" srcOrd="2" destOrd="0" parTransId="{53A4D748-001C-45E3-8870-15DA0A952B7D}" sibTransId="{855D93D9-D4DC-4E2C-91DD-8BCB8DFB5801}"/>
    <dgm:cxn modelId="{A85FDC71-5CD8-448B-9A60-B0C1C3D4B7C8}" type="presParOf" srcId="{9A34868A-CA7D-4780-8D08-B3338F6A7393}" destId="{A62D42BA-64A9-4E35-B019-1799D4E15A06}" srcOrd="0" destOrd="0" presId="urn:microsoft.com/office/officeart/2005/8/layout/list1"/>
    <dgm:cxn modelId="{2C95D462-FA61-416E-A40B-D71E25E4EF2D}" type="presParOf" srcId="{A62D42BA-64A9-4E35-B019-1799D4E15A06}" destId="{31E78216-A2EB-4D09-B357-7502AC46EA6F}" srcOrd="0" destOrd="0" presId="urn:microsoft.com/office/officeart/2005/8/layout/list1"/>
    <dgm:cxn modelId="{38130C29-D9E4-4738-9678-C800EBC621B4}" type="presParOf" srcId="{A62D42BA-64A9-4E35-B019-1799D4E15A06}" destId="{ADB983CD-EF20-471C-964F-B520DCF4D3FE}" srcOrd="1" destOrd="0" presId="urn:microsoft.com/office/officeart/2005/8/layout/list1"/>
    <dgm:cxn modelId="{AF13A4C0-953A-4B73-AF7E-E62E8E835173}" type="presParOf" srcId="{9A34868A-CA7D-4780-8D08-B3338F6A7393}" destId="{434245A9-C244-42E9-B36E-0C735648EEE4}" srcOrd="1" destOrd="0" presId="urn:microsoft.com/office/officeart/2005/8/layout/list1"/>
    <dgm:cxn modelId="{18C0EA21-2494-428D-9539-ADBE81600DCA}" type="presParOf" srcId="{9A34868A-CA7D-4780-8D08-B3338F6A7393}" destId="{67B7BF28-9EB4-4EAF-A69D-58B0FE84BB9E}" srcOrd="2" destOrd="0" presId="urn:microsoft.com/office/officeart/2005/8/layout/list1"/>
    <dgm:cxn modelId="{990DA2FB-B026-40A6-9F21-1464DDF076BF}" type="presParOf" srcId="{9A34868A-CA7D-4780-8D08-B3338F6A7393}" destId="{3A0A4FC6-EFB0-40F5-A572-70BE64E68F5F}" srcOrd="3" destOrd="0" presId="urn:microsoft.com/office/officeart/2005/8/layout/list1"/>
    <dgm:cxn modelId="{37AFE68D-28F7-48B7-AEE4-ADB681C1F5FC}" type="presParOf" srcId="{9A34868A-CA7D-4780-8D08-B3338F6A7393}" destId="{5ACB67E7-E808-4D67-BD1D-52ADE51B3049}" srcOrd="4" destOrd="0" presId="urn:microsoft.com/office/officeart/2005/8/layout/list1"/>
    <dgm:cxn modelId="{61F50C99-199D-4ED7-B63E-3CDD6B047165}" type="presParOf" srcId="{5ACB67E7-E808-4D67-BD1D-52ADE51B3049}" destId="{8ABA7AE4-251C-45EA-AF3F-073F26E328A6}" srcOrd="0" destOrd="0" presId="urn:microsoft.com/office/officeart/2005/8/layout/list1"/>
    <dgm:cxn modelId="{44341D46-CE01-4118-AE98-83B7B578C1E0}" type="presParOf" srcId="{5ACB67E7-E808-4D67-BD1D-52ADE51B3049}" destId="{FB9B9A09-DE7B-42EC-B9DE-EC481931C524}" srcOrd="1" destOrd="0" presId="urn:microsoft.com/office/officeart/2005/8/layout/list1"/>
    <dgm:cxn modelId="{2E4FC1E1-2F65-47DF-84A0-F9AA5AAACB2E}" type="presParOf" srcId="{9A34868A-CA7D-4780-8D08-B3338F6A7393}" destId="{91EBD08B-8FA2-4DDF-9580-D50AC9A00CBD}" srcOrd="5" destOrd="0" presId="urn:microsoft.com/office/officeart/2005/8/layout/list1"/>
    <dgm:cxn modelId="{D277A6E4-DC4E-4BEF-84F9-6E83A67CB77F}" type="presParOf" srcId="{9A34868A-CA7D-4780-8D08-B3338F6A7393}" destId="{FB3F1349-3785-4E6E-9708-EBE55C1DC01C}" srcOrd="6" destOrd="0" presId="urn:microsoft.com/office/officeart/2005/8/layout/list1"/>
    <dgm:cxn modelId="{C9E55388-BF23-4B98-AE5D-DCE213E2EA99}" type="presParOf" srcId="{9A34868A-CA7D-4780-8D08-B3338F6A7393}" destId="{4B21291A-357E-4091-92C4-AA0FFC77EE04}" srcOrd="7" destOrd="0" presId="urn:microsoft.com/office/officeart/2005/8/layout/list1"/>
    <dgm:cxn modelId="{73EC8C54-2A87-426B-81C8-8CC02B5149F9}" type="presParOf" srcId="{9A34868A-CA7D-4780-8D08-B3338F6A7393}" destId="{E5B95C66-653B-4DF9-87FF-4618A2D6610B}" srcOrd="8" destOrd="0" presId="urn:microsoft.com/office/officeart/2005/8/layout/list1"/>
    <dgm:cxn modelId="{B7EC7035-AA53-4238-B687-0469CBE83905}" type="presParOf" srcId="{E5B95C66-653B-4DF9-87FF-4618A2D6610B}" destId="{D1AF9E84-1B97-4420-8C04-A735BF749917}" srcOrd="0" destOrd="0" presId="urn:microsoft.com/office/officeart/2005/8/layout/list1"/>
    <dgm:cxn modelId="{129DE9C8-9E3D-4BFD-9AA6-E46A4898A600}" type="presParOf" srcId="{E5B95C66-653B-4DF9-87FF-4618A2D6610B}" destId="{BD4E8ECE-7125-4BA4-A023-9F900BC521BD}" srcOrd="1" destOrd="0" presId="urn:microsoft.com/office/officeart/2005/8/layout/list1"/>
    <dgm:cxn modelId="{5B98C601-A328-424C-8E4F-6C60C0266018}" type="presParOf" srcId="{9A34868A-CA7D-4780-8D08-B3338F6A7393}" destId="{6D79D087-B161-4961-88C4-E7937EBB1D93}" srcOrd="9" destOrd="0" presId="urn:microsoft.com/office/officeart/2005/8/layout/list1"/>
    <dgm:cxn modelId="{99758660-159D-461A-B23E-622EC665CB7B}" type="presParOf" srcId="{9A34868A-CA7D-4780-8D08-B3338F6A7393}" destId="{19D83D99-684B-4D85-A42D-E1927F006482}"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7095736-83DF-4FEB-9BDF-AB8E384C0E6B}" type="doc">
      <dgm:prSet loTypeId="urn:microsoft.com/office/officeart/2008/layout/LinedList" loCatId="hierarchy" qsTypeId="urn:microsoft.com/office/officeart/2005/8/quickstyle/simple1" qsCatId="simple" csTypeId="urn:microsoft.com/office/officeart/2005/8/colors/accent1_2" csCatId="accent1"/>
      <dgm:spPr/>
      <dgm:t>
        <a:bodyPr/>
        <a:lstStyle/>
        <a:p>
          <a:endParaRPr lang="en-US"/>
        </a:p>
      </dgm:t>
    </dgm:pt>
    <dgm:pt modelId="{43821778-E273-4082-B5C9-2BB27E73077C}">
      <dgm:prSet/>
      <dgm:spPr/>
      <dgm:t>
        <a:bodyPr/>
        <a:lstStyle/>
        <a:p>
          <a:r>
            <a:rPr lang="en-US" dirty="0"/>
            <a:t>Recommended guidance for custom external calls to SharePoint</a:t>
          </a:r>
        </a:p>
      </dgm:t>
    </dgm:pt>
    <dgm:pt modelId="{9F783792-551F-49CC-95EB-38CCAECFD368}" type="parTrans" cxnId="{933C1608-712A-44FA-B5E9-CC0B4E250C00}">
      <dgm:prSet/>
      <dgm:spPr/>
      <dgm:t>
        <a:bodyPr/>
        <a:lstStyle/>
        <a:p>
          <a:endParaRPr lang="en-US"/>
        </a:p>
      </dgm:t>
    </dgm:pt>
    <dgm:pt modelId="{7AE866F3-3DA7-481E-8F45-33A9B8270D80}" type="sibTrans" cxnId="{933C1608-712A-44FA-B5E9-CC0B4E250C00}">
      <dgm:prSet/>
      <dgm:spPr/>
      <dgm:t>
        <a:bodyPr/>
        <a:lstStyle/>
        <a:p>
          <a:endParaRPr lang="en-US"/>
        </a:p>
      </dgm:t>
    </dgm:pt>
    <dgm:pt modelId="{61D34042-0EE7-4A44-A7F6-18380D5322BC}">
      <dgm:prSet/>
      <dgm:spPr/>
      <dgm:t>
        <a:bodyPr/>
        <a:lstStyle/>
        <a:p>
          <a:r>
            <a:rPr lang="en-US" dirty="0"/>
            <a:t>Limit the number of custom JSOM and Rest API calls to SharePoint</a:t>
          </a:r>
        </a:p>
      </dgm:t>
    </dgm:pt>
    <dgm:pt modelId="{136F6A94-6C16-4AB0-B7DC-2DFA9538950D}" type="parTrans" cxnId="{8D2192CD-7443-47BC-B27A-44F1B80074C5}">
      <dgm:prSet/>
      <dgm:spPr/>
      <dgm:t>
        <a:bodyPr/>
        <a:lstStyle/>
        <a:p>
          <a:endParaRPr lang="en-US"/>
        </a:p>
      </dgm:t>
    </dgm:pt>
    <dgm:pt modelId="{BF4972C7-2521-480C-8990-B4ECB5A61F00}" type="sibTrans" cxnId="{8D2192CD-7443-47BC-B27A-44F1B80074C5}">
      <dgm:prSet/>
      <dgm:spPr/>
      <dgm:t>
        <a:bodyPr/>
        <a:lstStyle/>
        <a:p>
          <a:endParaRPr lang="en-US"/>
        </a:p>
      </dgm:t>
    </dgm:pt>
    <dgm:pt modelId="{F595D450-B078-4D6C-BC76-530F8AE71D44}">
      <dgm:prSet/>
      <dgm:spPr/>
      <dgm:t>
        <a:bodyPr/>
        <a:lstStyle/>
        <a:p>
          <a:r>
            <a:rPr lang="en-US" dirty="0"/>
            <a:t>The SPO product group recommends 6 or fewer (per page load)</a:t>
          </a:r>
        </a:p>
      </dgm:t>
    </dgm:pt>
    <dgm:pt modelId="{149B4A9D-3E8F-4012-9F3D-932320A41F8F}" type="parTrans" cxnId="{BED7F226-8720-4D4D-B107-1A8C19C80FE4}">
      <dgm:prSet/>
      <dgm:spPr/>
      <dgm:t>
        <a:bodyPr/>
        <a:lstStyle/>
        <a:p>
          <a:endParaRPr lang="en-US"/>
        </a:p>
      </dgm:t>
    </dgm:pt>
    <dgm:pt modelId="{910BF790-3B52-4834-A588-1830D82914FC}" type="sibTrans" cxnId="{BED7F226-8720-4D4D-B107-1A8C19C80FE4}">
      <dgm:prSet/>
      <dgm:spPr/>
      <dgm:t>
        <a:bodyPr/>
        <a:lstStyle/>
        <a:p>
          <a:endParaRPr lang="en-US"/>
        </a:p>
      </dgm:t>
    </dgm:pt>
    <dgm:pt modelId="{CA33BD26-CC48-400D-9B51-6D5EAF9D38F4}">
      <dgm:prSet/>
      <dgm:spPr/>
      <dgm:t>
        <a:bodyPr/>
        <a:lstStyle/>
        <a:p>
          <a:r>
            <a:rPr lang="en-US" dirty="0"/>
            <a:t>Modern site pages should contain no more than 25 calls </a:t>
          </a:r>
        </a:p>
      </dgm:t>
    </dgm:pt>
    <dgm:pt modelId="{EC90ABB8-F837-4251-BBA7-7972FF9FA9D7}" type="parTrans" cxnId="{E9527A3B-FCE9-4AFC-B6FF-C635998C57E1}">
      <dgm:prSet/>
      <dgm:spPr/>
      <dgm:t>
        <a:bodyPr/>
        <a:lstStyle/>
        <a:p>
          <a:endParaRPr lang="en-US"/>
        </a:p>
      </dgm:t>
    </dgm:pt>
    <dgm:pt modelId="{EFCC7837-2566-46D7-AD9F-BD07EBAE2E54}" type="sibTrans" cxnId="{E9527A3B-FCE9-4AFC-B6FF-C635998C57E1}">
      <dgm:prSet/>
      <dgm:spPr/>
      <dgm:t>
        <a:bodyPr/>
        <a:lstStyle/>
        <a:p>
          <a:endParaRPr lang="en-US"/>
        </a:p>
      </dgm:t>
    </dgm:pt>
    <dgm:pt modelId="{2F06CDC3-18F9-4BAB-B0C9-738C1408BF6B}">
      <dgm:prSet/>
      <dgm:spPr/>
      <dgm:t>
        <a:bodyPr/>
        <a:lstStyle/>
        <a:p>
          <a:r>
            <a:rPr lang="en-US" dirty="0"/>
            <a:t>Avoid having numerous controls requesting exactly the same data numerous times on a page</a:t>
          </a:r>
        </a:p>
      </dgm:t>
    </dgm:pt>
    <dgm:pt modelId="{89379A1B-E321-4538-A933-78CAE0BFC367}" type="parTrans" cxnId="{9EA53496-AFD9-4F45-B987-5A0391A2C5ED}">
      <dgm:prSet/>
      <dgm:spPr/>
      <dgm:t>
        <a:bodyPr/>
        <a:lstStyle/>
        <a:p>
          <a:endParaRPr lang="en-US"/>
        </a:p>
      </dgm:t>
    </dgm:pt>
    <dgm:pt modelId="{26D4774A-0CCF-4DFC-85CE-7934473B7F92}" type="sibTrans" cxnId="{9EA53496-AFD9-4F45-B987-5A0391A2C5ED}">
      <dgm:prSet/>
      <dgm:spPr/>
      <dgm:t>
        <a:bodyPr/>
        <a:lstStyle/>
        <a:p>
          <a:endParaRPr lang="en-US"/>
        </a:p>
      </dgm:t>
    </dgm:pt>
    <dgm:pt modelId="{E5767B7B-7D8E-4BB7-ACEE-3A4D35E61763}">
      <dgm:prSet/>
      <dgm:spPr/>
      <dgm:t>
        <a:bodyPr/>
        <a:lstStyle/>
        <a:p>
          <a:r>
            <a:rPr lang="en-US"/>
            <a:t>Do not embed redundant custom JavaScript and CSS throughout the page body</a:t>
          </a:r>
        </a:p>
      </dgm:t>
    </dgm:pt>
    <dgm:pt modelId="{EF289CFB-C960-439E-A83D-C86BA5B132D0}" type="parTrans" cxnId="{48303E58-A353-4934-94EF-79270A1A70DD}">
      <dgm:prSet/>
      <dgm:spPr/>
      <dgm:t>
        <a:bodyPr/>
        <a:lstStyle/>
        <a:p>
          <a:endParaRPr lang="en-US"/>
        </a:p>
      </dgm:t>
    </dgm:pt>
    <dgm:pt modelId="{8C8FE2D9-E676-4722-97E8-EAD4469B8B97}" type="sibTrans" cxnId="{48303E58-A353-4934-94EF-79270A1A70DD}">
      <dgm:prSet/>
      <dgm:spPr/>
      <dgm:t>
        <a:bodyPr/>
        <a:lstStyle/>
        <a:p>
          <a:endParaRPr lang="en-US"/>
        </a:p>
      </dgm:t>
    </dgm:pt>
    <dgm:pt modelId="{0681250A-8B88-4466-BE3E-02139FEEFBAA}">
      <dgm:prSet/>
      <dgm:spPr/>
      <dgm:t>
        <a:bodyPr/>
        <a:lstStyle/>
        <a:p>
          <a:r>
            <a:rPr lang="en-US"/>
            <a:t>Batching JavaScript calls will help reduce number of roundtrips to SharePoint server and can increase performance.  </a:t>
          </a:r>
        </a:p>
      </dgm:t>
    </dgm:pt>
    <dgm:pt modelId="{65113CC0-48C0-4F00-ADA2-38D2AAA604AA}" type="parTrans" cxnId="{0FC988E5-0D04-4694-BEB4-D6D42EF898D7}">
      <dgm:prSet/>
      <dgm:spPr/>
      <dgm:t>
        <a:bodyPr/>
        <a:lstStyle/>
        <a:p>
          <a:endParaRPr lang="en-US"/>
        </a:p>
      </dgm:t>
    </dgm:pt>
    <dgm:pt modelId="{7EFDF8EA-59A6-4604-A43F-60A8B354254B}" type="sibTrans" cxnId="{0FC988E5-0D04-4694-BEB4-D6D42EF898D7}">
      <dgm:prSet/>
      <dgm:spPr/>
      <dgm:t>
        <a:bodyPr/>
        <a:lstStyle/>
        <a:p>
          <a:endParaRPr lang="en-US"/>
        </a:p>
      </dgm:t>
    </dgm:pt>
    <dgm:pt modelId="{5010364D-DB60-4DA4-8F75-16330077DD81}">
      <dgm:prSet/>
      <dgm:spPr/>
      <dgm:t>
        <a:bodyPr/>
        <a:lstStyle/>
        <a:p>
          <a:r>
            <a:rPr lang="en-US"/>
            <a:t>SharePoint PnP (an open-source initiative led by Microsoft) has published a JavaScript SharePoint library with batching capability that can be used to batch JavaScript calls together. </a:t>
          </a:r>
          <a:r>
            <a:rPr lang="en-US">
              <a:hlinkClick xmlns:r="http://schemas.openxmlformats.org/officeDocument/2006/relationships" r:id="rId1"/>
            </a:rPr>
            <a:t>https://github.com/SharePoint/PnP-JS-Core/wiki/Batching</a:t>
          </a:r>
          <a:endParaRPr lang="en-US"/>
        </a:p>
      </dgm:t>
    </dgm:pt>
    <dgm:pt modelId="{170FD718-75A8-4789-9DD7-3A9164A0268A}" type="parTrans" cxnId="{72768910-FF35-4F8D-B1BD-48D4120F84EC}">
      <dgm:prSet/>
      <dgm:spPr/>
      <dgm:t>
        <a:bodyPr/>
        <a:lstStyle/>
        <a:p>
          <a:endParaRPr lang="en-US"/>
        </a:p>
      </dgm:t>
    </dgm:pt>
    <dgm:pt modelId="{E5A4320B-C683-4FBE-ACBC-D57EB906D2DB}" type="sibTrans" cxnId="{72768910-FF35-4F8D-B1BD-48D4120F84EC}">
      <dgm:prSet/>
      <dgm:spPr/>
      <dgm:t>
        <a:bodyPr/>
        <a:lstStyle/>
        <a:p>
          <a:endParaRPr lang="en-US"/>
        </a:p>
      </dgm:t>
    </dgm:pt>
    <dgm:pt modelId="{FA9A7AE0-2ABB-473E-A48B-5BADD326C533}" type="pres">
      <dgm:prSet presAssocID="{17095736-83DF-4FEB-9BDF-AB8E384C0E6B}" presName="vert0" presStyleCnt="0">
        <dgm:presLayoutVars>
          <dgm:dir/>
          <dgm:animOne val="branch"/>
          <dgm:animLvl val="lvl"/>
        </dgm:presLayoutVars>
      </dgm:prSet>
      <dgm:spPr/>
    </dgm:pt>
    <dgm:pt modelId="{C55B50EC-5CF3-46F0-A28C-B0FCC3B7767C}" type="pres">
      <dgm:prSet presAssocID="{43821778-E273-4082-B5C9-2BB27E73077C}" presName="thickLine" presStyleLbl="alignNode1" presStyleIdx="0" presStyleCnt="1"/>
      <dgm:spPr/>
    </dgm:pt>
    <dgm:pt modelId="{FA4D9082-DF15-41C0-B83B-380E45D6D370}" type="pres">
      <dgm:prSet presAssocID="{43821778-E273-4082-B5C9-2BB27E73077C}" presName="horz1" presStyleCnt="0"/>
      <dgm:spPr/>
    </dgm:pt>
    <dgm:pt modelId="{9809D898-C6E2-4634-9F5D-8E0A2F629355}" type="pres">
      <dgm:prSet presAssocID="{43821778-E273-4082-B5C9-2BB27E73077C}" presName="tx1" presStyleLbl="revTx" presStyleIdx="0" presStyleCnt="8"/>
      <dgm:spPr/>
    </dgm:pt>
    <dgm:pt modelId="{F13F8CD3-95F5-4243-924A-D0EBFFFC47F0}" type="pres">
      <dgm:prSet presAssocID="{43821778-E273-4082-B5C9-2BB27E73077C}" presName="vert1" presStyleCnt="0"/>
      <dgm:spPr/>
    </dgm:pt>
    <dgm:pt modelId="{2936E1A8-D233-4EC7-93C3-53D333A9A633}" type="pres">
      <dgm:prSet presAssocID="{61D34042-0EE7-4A44-A7F6-18380D5322BC}" presName="vertSpace2a" presStyleCnt="0"/>
      <dgm:spPr/>
    </dgm:pt>
    <dgm:pt modelId="{101CE090-0C67-4AA4-9564-1EA7B48970F5}" type="pres">
      <dgm:prSet presAssocID="{61D34042-0EE7-4A44-A7F6-18380D5322BC}" presName="horz2" presStyleCnt="0"/>
      <dgm:spPr/>
    </dgm:pt>
    <dgm:pt modelId="{3BC8FA9D-574A-4A1A-AC46-4234FDCF63AA}" type="pres">
      <dgm:prSet presAssocID="{61D34042-0EE7-4A44-A7F6-18380D5322BC}" presName="horzSpace2" presStyleCnt="0"/>
      <dgm:spPr/>
    </dgm:pt>
    <dgm:pt modelId="{BD447201-A3A5-4A2B-B71E-F476BF1039E0}" type="pres">
      <dgm:prSet presAssocID="{61D34042-0EE7-4A44-A7F6-18380D5322BC}" presName="tx2" presStyleLbl="revTx" presStyleIdx="1" presStyleCnt="8"/>
      <dgm:spPr/>
    </dgm:pt>
    <dgm:pt modelId="{17784BDA-8B8B-4682-95A0-F0B294A34AA7}" type="pres">
      <dgm:prSet presAssocID="{61D34042-0EE7-4A44-A7F6-18380D5322BC}" presName="vert2" presStyleCnt="0"/>
      <dgm:spPr/>
    </dgm:pt>
    <dgm:pt modelId="{97FB0909-6D05-4FF6-89AE-B2685584168D}" type="pres">
      <dgm:prSet presAssocID="{F595D450-B078-4D6C-BC76-530F8AE71D44}" presName="horz3" presStyleCnt="0"/>
      <dgm:spPr/>
    </dgm:pt>
    <dgm:pt modelId="{20D4D459-3B2E-476A-9B33-046531DD4422}" type="pres">
      <dgm:prSet presAssocID="{F595D450-B078-4D6C-BC76-530F8AE71D44}" presName="horzSpace3" presStyleCnt="0"/>
      <dgm:spPr/>
    </dgm:pt>
    <dgm:pt modelId="{3F9F9DA5-7C84-4E47-B3E0-ADE2A256124A}" type="pres">
      <dgm:prSet presAssocID="{F595D450-B078-4D6C-BC76-530F8AE71D44}" presName="tx3" presStyleLbl="revTx" presStyleIdx="2" presStyleCnt="8"/>
      <dgm:spPr/>
    </dgm:pt>
    <dgm:pt modelId="{6C7EA926-6FE3-4443-9CAD-A11AB060D1A2}" type="pres">
      <dgm:prSet presAssocID="{F595D450-B078-4D6C-BC76-530F8AE71D44}" presName="vert3" presStyleCnt="0"/>
      <dgm:spPr/>
    </dgm:pt>
    <dgm:pt modelId="{FA35ECFF-5DF4-4044-8369-59F7AA31F710}" type="pres">
      <dgm:prSet presAssocID="{910BF790-3B52-4834-A588-1830D82914FC}" presName="thinLine3" presStyleLbl="callout" presStyleIdx="0" presStyleCnt="5"/>
      <dgm:spPr/>
    </dgm:pt>
    <dgm:pt modelId="{D1D9C7B2-867A-49FB-B6D3-1B72A2009A3A}" type="pres">
      <dgm:prSet presAssocID="{CA33BD26-CC48-400D-9B51-6D5EAF9D38F4}" presName="horz3" presStyleCnt="0"/>
      <dgm:spPr/>
    </dgm:pt>
    <dgm:pt modelId="{0C130663-779D-4799-B9AB-210CBE1FCED8}" type="pres">
      <dgm:prSet presAssocID="{CA33BD26-CC48-400D-9B51-6D5EAF9D38F4}" presName="horzSpace3" presStyleCnt="0"/>
      <dgm:spPr/>
    </dgm:pt>
    <dgm:pt modelId="{AA8A95A1-434D-45D1-982F-A9CB61ADEB30}" type="pres">
      <dgm:prSet presAssocID="{CA33BD26-CC48-400D-9B51-6D5EAF9D38F4}" presName="tx3" presStyleLbl="revTx" presStyleIdx="3" presStyleCnt="8"/>
      <dgm:spPr/>
    </dgm:pt>
    <dgm:pt modelId="{59EEE154-99DA-4F61-85A5-89E0261C0BA8}" type="pres">
      <dgm:prSet presAssocID="{CA33BD26-CC48-400D-9B51-6D5EAF9D38F4}" presName="vert3" presStyleCnt="0"/>
      <dgm:spPr/>
    </dgm:pt>
    <dgm:pt modelId="{DCBF579E-B591-490B-9D58-CED3086D1BFC}" type="pres">
      <dgm:prSet presAssocID="{61D34042-0EE7-4A44-A7F6-18380D5322BC}" presName="thinLine2b" presStyleLbl="callout" presStyleIdx="1" presStyleCnt="5"/>
      <dgm:spPr/>
    </dgm:pt>
    <dgm:pt modelId="{19BE37A9-4577-4264-A7CD-25127C5C68B3}" type="pres">
      <dgm:prSet presAssocID="{61D34042-0EE7-4A44-A7F6-18380D5322BC}" presName="vertSpace2b" presStyleCnt="0"/>
      <dgm:spPr/>
    </dgm:pt>
    <dgm:pt modelId="{38333751-F803-41BD-B710-67316255CE32}" type="pres">
      <dgm:prSet presAssocID="{2F06CDC3-18F9-4BAB-B0C9-738C1408BF6B}" presName="horz2" presStyleCnt="0"/>
      <dgm:spPr/>
    </dgm:pt>
    <dgm:pt modelId="{1ADA931C-2506-4090-A248-5650960CC25A}" type="pres">
      <dgm:prSet presAssocID="{2F06CDC3-18F9-4BAB-B0C9-738C1408BF6B}" presName="horzSpace2" presStyleCnt="0"/>
      <dgm:spPr/>
    </dgm:pt>
    <dgm:pt modelId="{26F09CF2-D015-4485-B200-7FCFEE7C3154}" type="pres">
      <dgm:prSet presAssocID="{2F06CDC3-18F9-4BAB-B0C9-738C1408BF6B}" presName="tx2" presStyleLbl="revTx" presStyleIdx="4" presStyleCnt="8"/>
      <dgm:spPr/>
    </dgm:pt>
    <dgm:pt modelId="{D93F5360-4904-45E7-8EBF-BB92F7D34E67}" type="pres">
      <dgm:prSet presAssocID="{2F06CDC3-18F9-4BAB-B0C9-738C1408BF6B}" presName="vert2" presStyleCnt="0"/>
      <dgm:spPr/>
    </dgm:pt>
    <dgm:pt modelId="{27A6EC35-47A1-4890-9FC3-87E66964CC9A}" type="pres">
      <dgm:prSet presAssocID="{2F06CDC3-18F9-4BAB-B0C9-738C1408BF6B}" presName="thinLine2b" presStyleLbl="callout" presStyleIdx="2" presStyleCnt="5"/>
      <dgm:spPr/>
    </dgm:pt>
    <dgm:pt modelId="{3B073E01-B31D-44F9-8C05-8FFD1FFD8CC3}" type="pres">
      <dgm:prSet presAssocID="{2F06CDC3-18F9-4BAB-B0C9-738C1408BF6B}" presName="vertSpace2b" presStyleCnt="0"/>
      <dgm:spPr/>
    </dgm:pt>
    <dgm:pt modelId="{91926FD7-15C3-4923-B1D9-293A02929318}" type="pres">
      <dgm:prSet presAssocID="{E5767B7B-7D8E-4BB7-ACEE-3A4D35E61763}" presName="horz2" presStyleCnt="0"/>
      <dgm:spPr/>
    </dgm:pt>
    <dgm:pt modelId="{D3F5AC56-7F3D-4F1C-A494-5E1AA42AE764}" type="pres">
      <dgm:prSet presAssocID="{E5767B7B-7D8E-4BB7-ACEE-3A4D35E61763}" presName="horzSpace2" presStyleCnt="0"/>
      <dgm:spPr/>
    </dgm:pt>
    <dgm:pt modelId="{1A53C937-86FB-44A7-BEEB-D9342D00D6A3}" type="pres">
      <dgm:prSet presAssocID="{E5767B7B-7D8E-4BB7-ACEE-3A4D35E61763}" presName="tx2" presStyleLbl="revTx" presStyleIdx="5" presStyleCnt="8"/>
      <dgm:spPr/>
    </dgm:pt>
    <dgm:pt modelId="{C87655E7-E01B-4164-9706-D5F49765CB14}" type="pres">
      <dgm:prSet presAssocID="{E5767B7B-7D8E-4BB7-ACEE-3A4D35E61763}" presName="vert2" presStyleCnt="0"/>
      <dgm:spPr/>
    </dgm:pt>
    <dgm:pt modelId="{80E01191-FFF7-4A15-80E7-B23FAC1DD639}" type="pres">
      <dgm:prSet presAssocID="{E5767B7B-7D8E-4BB7-ACEE-3A4D35E61763}" presName="thinLine2b" presStyleLbl="callout" presStyleIdx="3" presStyleCnt="5"/>
      <dgm:spPr/>
    </dgm:pt>
    <dgm:pt modelId="{75B34CED-8196-4D92-844F-AD80221C02AF}" type="pres">
      <dgm:prSet presAssocID="{E5767B7B-7D8E-4BB7-ACEE-3A4D35E61763}" presName="vertSpace2b" presStyleCnt="0"/>
      <dgm:spPr/>
    </dgm:pt>
    <dgm:pt modelId="{26F246D4-81E4-46F8-A196-8150834199E6}" type="pres">
      <dgm:prSet presAssocID="{0681250A-8B88-4466-BE3E-02139FEEFBAA}" presName="horz2" presStyleCnt="0"/>
      <dgm:spPr/>
    </dgm:pt>
    <dgm:pt modelId="{8E74E598-EB30-4336-866E-C33A3CE06CB1}" type="pres">
      <dgm:prSet presAssocID="{0681250A-8B88-4466-BE3E-02139FEEFBAA}" presName="horzSpace2" presStyleCnt="0"/>
      <dgm:spPr/>
    </dgm:pt>
    <dgm:pt modelId="{C9A92391-5358-469D-9208-9CBA6417CCD8}" type="pres">
      <dgm:prSet presAssocID="{0681250A-8B88-4466-BE3E-02139FEEFBAA}" presName="tx2" presStyleLbl="revTx" presStyleIdx="6" presStyleCnt="8"/>
      <dgm:spPr/>
    </dgm:pt>
    <dgm:pt modelId="{9A431965-A576-4322-80DD-DC5698FEBB66}" type="pres">
      <dgm:prSet presAssocID="{0681250A-8B88-4466-BE3E-02139FEEFBAA}" presName="vert2" presStyleCnt="0"/>
      <dgm:spPr/>
    </dgm:pt>
    <dgm:pt modelId="{442D803A-D868-4016-ABEF-14A1D884CD7E}" type="pres">
      <dgm:prSet presAssocID="{5010364D-DB60-4DA4-8F75-16330077DD81}" presName="horz3" presStyleCnt="0"/>
      <dgm:spPr/>
    </dgm:pt>
    <dgm:pt modelId="{6B5BB555-00ED-4A4C-964A-13569711A9C3}" type="pres">
      <dgm:prSet presAssocID="{5010364D-DB60-4DA4-8F75-16330077DD81}" presName="horzSpace3" presStyleCnt="0"/>
      <dgm:spPr/>
    </dgm:pt>
    <dgm:pt modelId="{B5761AD8-1798-4534-8CC4-2E7DAAE839F7}" type="pres">
      <dgm:prSet presAssocID="{5010364D-DB60-4DA4-8F75-16330077DD81}" presName="tx3" presStyleLbl="revTx" presStyleIdx="7" presStyleCnt="8"/>
      <dgm:spPr/>
    </dgm:pt>
    <dgm:pt modelId="{29B64FFE-2772-4E33-8120-F32E4C8119B8}" type="pres">
      <dgm:prSet presAssocID="{5010364D-DB60-4DA4-8F75-16330077DD81}" presName="vert3" presStyleCnt="0"/>
      <dgm:spPr/>
    </dgm:pt>
    <dgm:pt modelId="{D36EDCBD-FB1E-4F32-8ED7-BB73BAFDB77D}" type="pres">
      <dgm:prSet presAssocID="{0681250A-8B88-4466-BE3E-02139FEEFBAA}" presName="thinLine2b" presStyleLbl="callout" presStyleIdx="4" presStyleCnt="5"/>
      <dgm:spPr/>
    </dgm:pt>
    <dgm:pt modelId="{7BFE8D42-0D11-4A1A-B98E-DC32BAF29C0B}" type="pres">
      <dgm:prSet presAssocID="{0681250A-8B88-4466-BE3E-02139FEEFBAA}" presName="vertSpace2b" presStyleCnt="0"/>
      <dgm:spPr/>
    </dgm:pt>
  </dgm:ptLst>
  <dgm:cxnLst>
    <dgm:cxn modelId="{933C1608-712A-44FA-B5E9-CC0B4E250C00}" srcId="{17095736-83DF-4FEB-9BDF-AB8E384C0E6B}" destId="{43821778-E273-4082-B5C9-2BB27E73077C}" srcOrd="0" destOrd="0" parTransId="{9F783792-551F-49CC-95EB-38CCAECFD368}" sibTransId="{7AE866F3-3DA7-481E-8F45-33A9B8270D80}"/>
    <dgm:cxn modelId="{72768910-FF35-4F8D-B1BD-48D4120F84EC}" srcId="{0681250A-8B88-4466-BE3E-02139FEEFBAA}" destId="{5010364D-DB60-4DA4-8F75-16330077DD81}" srcOrd="0" destOrd="0" parTransId="{170FD718-75A8-4789-9DD7-3A9164A0268A}" sibTransId="{E5A4320B-C683-4FBE-ACBC-D57EB906D2DB}"/>
    <dgm:cxn modelId="{A408101B-06C8-4A76-B902-1F33CD303F4A}" type="presOf" srcId="{43821778-E273-4082-B5C9-2BB27E73077C}" destId="{9809D898-C6E2-4634-9F5D-8E0A2F629355}" srcOrd="0" destOrd="0" presId="urn:microsoft.com/office/officeart/2008/layout/LinedList"/>
    <dgm:cxn modelId="{BED7F226-8720-4D4D-B107-1A8C19C80FE4}" srcId="{61D34042-0EE7-4A44-A7F6-18380D5322BC}" destId="{F595D450-B078-4D6C-BC76-530F8AE71D44}" srcOrd="0" destOrd="0" parTransId="{149B4A9D-3E8F-4012-9F3D-932320A41F8F}" sibTransId="{910BF790-3B52-4834-A588-1830D82914FC}"/>
    <dgm:cxn modelId="{9E5BF726-D244-4648-8F4F-EE948499658C}" type="presOf" srcId="{E5767B7B-7D8E-4BB7-ACEE-3A4D35E61763}" destId="{1A53C937-86FB-44A7-BEEB-D9342D00D6A3}" srcOrd="0" destOrd="0" presId="urn:microsoft.com/office/officeart/2008/layout/LinedList"/>
    <dgm:cxn modelId="{E9527A3B-FCE9-4AFC-B6FF-C635998C57E1}" srcId="{61D34042-0EE7-4A44-A7F6-18380D5322BC}" destId="{CA33BD26-CC48-400D-9B51-6D5EAF9D38F4}" srcOrd="1" destOrd="0" parTransId="{EC90ABB8-F837-4251-BBA7-7972FF9FA9D7}" sibTransId="{EFCC7837-2566-46D7-AD9F-BD07EBAE2E54}"/>
    <dgm:cxn modelId="{A5F0373D-1023-4F2D-B901-5149FE024A90}" type="presOf" srcId="{CA33BD26-CC48-400D-9B51-6D5EAF9D38F4}" destId="{AA8A95A1-434D-45D1-982F-A9CB61ADEB30}" srcOrd="0" destOrd="0" presId="urn:microsoft.com/office/officeart/2008/layout/LinedList"/>
    <dgm:cxn modelId="{54F81A67-6B9D-4D71-ADE3-20B3DF47C019}" type="presOf" srcId="{2F06CDC3-18F9-4BAB-B0C9-738C1408BF6B}" destId="{26F09CF2-D015-4485-B200-7FCFEE7C3154}" srcOrd="0" destOrd="0" presId="urn:microsoft.com/office/officeart/2008/layout/LinedList"/>
    <dgm:cxn modelId="{24736F69-26C7-44D0-A7E4-E884E9A15E5A}" type="presOf" srcId="{0681250A-8B88-4466-BE3E-02139FEEFBAA}" destId="{C9A92391-5358-469D-9208-9CBA6417CCD8}" srcOrd="0" destOrd="0" presId="urn:microsoft.com/office/officeart/2008/layout/LinedList"/>
    <dgm:cxn modelId="{48303E58-A353-4934-94EF-79270A1A70DD}" srcId="{43821778-E273-4082-B5C9-2BB27E73077C}" destId="{E5767B7B-7D8E-4BB7-ACEE-3A4D35E61763}" srcOrd="2" destOrd="0" parTransId="{EF289CFB-C960-439E-A83D-C86BA5B132D0}" sibTransId="{8C8FE2D9-E676-4722-97E8-EAD4469B8B97}"/>
    <dgm:cxn modelId="{876BE887-4EEE-47BE-9FDF-D9C317D469BD}" type="presOf" srcId="{F595D450-B078-4D6C-BC76-530F8AE71D44}" destId="{3F9F9DA5-7C84-4E47-B3E0-ADE2A256124A}" srcOrd="0" destOrd="0" presId="urn:microsoft.com/office/officeart/2008/layout/LinedList"/>
    <dgm:cxn modelId="{9EA53496-AFD9-4F45-B987-5A0391A2C5ED}" srcId="{43821778-E273-4082-B5C9-2BB27E73077C}" destId="{2F06CDC3-18F9-4BAB-B0C9-738C1408BF6B}" srcOrd="1" destOrd="0" parTransId="{89379A1B-E321-4538-A933-78CAE0BFC367}" sibTransId="{26D4774A-0CCF-4DFC-85CE-7934473B7F92}"/>
    <dgm:cxn modelId="{ACFA639E-58F8-4DC7-B626-13550C30990D}" type="presOf" srcId="{61D34042-0EE7-4A44-A7F6-18380D5322BC}" destId="{BD447201-A3A5-4A2B-B71E-F476BF1039E0}" srcOrd="0" destOrd="0" presId="urn:microsoft.com/office/officeart/2008/layout/LinedList"/>
    <dgm:cxn modelId="{8D2192CD-7443-47BC-B27A-44F1B80074C5}" srcId="{43821778-E273-4082-B5C9-2BB27E73077C}" destId="{61D34042-0EE7-4A44-A7F6-18380D5322BC}" srcOrd="0" destOrd="0" parTransId="{136F6A94-6C16-4AB0-B7DC-2DFA9538950D}" sibTransId="{BF4972C7-2521-480C-8990-B4ECB5A61F00}"/>
    <dgm:cxn modelId="{AEBFD8E0-718F-4CCE-B4EA-25EFFCD72852}" type="presOf" srcId="{5010364D-DB60-4DA4-8F75-16330077DD81}" destId="{B5761AD8-1798-4534-8CC4-2E7DAAE839F7}" srcOrd="0" destOrd="0" presId="urn:microsoft.com/office/officeart/2008/layout/LinedList"/>
    <dgm:cxn modelId="{79FF71E3-4C8D-497F-A413-2B5326489C4A}" type="presOf" srcId="{17095736-83DF-4FEB-9BDF-AB8E384C0E6B}" destId="{FA9A7AE0-2ABB-473E-A48B-5BADD326C533}" srcOrd="0" destOrd="0" presId="urn:microsoft.com/office/officeart/2008/layout/LinedList"/>
    <dgm:cxn modelId="{0FC988E5-0D04-4694-BEB4-D6D42EF898D7}" srcId="{43821778-E273-4082-B5C9-2BB27E73077C}" destId="{0681250A-8B88-4466-BE3E-02139FEEFBAA}" srcOrd="3" destOrd="0" parTransId="{65113CC0-48C0-4F00-ADA2-38D2AAA604AA}" sibTransId="{7EFDF8EA-59A6-4604-A43F-60A8B354254B}"/>
    <dgm:cxn modelId="{B640D660-2CEE-4992-AAC1-F0D5EBFD8726}" type="presParOf" srcId="{FA9A7AE0-2ABB-473E-A48B-5BADD326C533}" destId="{C55B50EC-5CF3-46F0-A28C-B0FCC3B7767C}" srcOrd="0" destOrd="0" presId="urn:microsoft.com/office/officeart/2008/layout/LinedList"/>
    <dgm:cxn modelId="{55A5CDE7-59A2-46E9-95FD-A486E7D3A5A1}" type="presParOf" srcId="{FA9A7AE0-2ABB-473E-A48B-5BADD326C533}" destId="{FA4D9082-DF15-41C0-B83B-380E45D6D370}" srcOrd="1" destOrd="0" presId="urn:microsoft.com/office/officeart/2008/layout/LinedList"/>
    <dgm:cxn modelId="{2AF68696-1281-4B24-8535-3B04C535FCC4}" type="presParOf" srcId="{FA4D9082-DF15-41C0-B83B-380E45D6D370}" destId="{9809D898-C6E2-4634-9F5D-8E0A2F629355}" srcOrd="0" destOrd="0" presId="urn:microsoft.com/office/officeart/2008/layout/LinedList"/>
    <dgm:cxn modelId="{A536A6E5-2A06-46CD-94E7-00C520ABF02A}" type="presParOf" srcId="{FA4D9082-DF15-41C0-B83B-380E45D6D370}" destId="{F13F8CD3-95F5-4243-924A-D0EBFFFC47F0}" srcOrd="1" destOrd="0" presId="urn:microsoft.com/office/officeart/2008/layout/LinedList"/>
    <dgm:cxn modelId="{FB20E2B2-87F4-4CD7-82BE-027867376617}" type="presParOf" srcId="{F13F8CD3-95F5-4243-924A-D0EBFFFC47F0}" destId="{2936E1A8-D233-4EC7-93C3-53D333A9A633}" srcOrd="0" destOrd="0" presId="urn:microsoft.com/office/officeart/2008/layout/LinedList"/>
    <dgm:cxn modelId="{E7992E19-0405-4497-8230-CB88C4A2427F}" type="presParOf" srcId="{F13F8CD3-95F5-4243-924A-D0EBFFFC47F0}" destId="{101CE090-0C67-4AA4-9564-1EA7B48970F5}" srcOrd="1" destOrd="0" presId="urn:microsoft.com/office/officeart/2008/layout/LinedList"/>
    <dgm:cxn modelId="{9381F469-5A7A-46C7-8BE2-1E45E85EB072}" type="presParOf" srcId="{101CE090-0C67-4AA4-9564-1EA7B48970F5}" destId="{3BC8FA9D-574A-4A1A-AC46-4234FDCF63AA}" srcOrd="0" destOrd="0" presId="urn:microsoft.com/office/officeart/2008/layout/LinedList"/>
    <dgm:cxn modelId="{4C4ABAC0-369B-4FB0-AABA-286173E1C254}" type="presParOf" srcId="{101CE090-0C67-4AA4-9564-1EA7B48970F5}" destId="{BD447201-A3A5-4A2B-B71E-F476BF1039E0}" srcOrd="1" destOrd="0" presId="urn:microsoft.com/office/officeart/2008/layout/LinedList"/>
    <dgm:cxn modelId="{D6C8A257-C1E8-46B2-AEA7-CD9E7BDC0BD3}" type="presParOf" srcId="{101CE090-0C67-4AA4-9564-1EA7B48970F5}" destId="{17784BDA-8B8B-4682-95A0-F0B294A34AA7}" srcOrd="2" destOrd="0" presId="urn:microsoft.com/office/officeart/2008/layout/LinedList"/>
    <dgm:cxn modelId="{EC068FD9-0CC4-48FA-B472-15590F746A09}" type="presParOf" srcId="{17784BDA-8B8B-4682-95A0-F0B294A34AA7}" destId="{97FB0909-6D05-4FF6-89AE-B2685584168D}" srcOrd="0" destOrd="0" presId="urn:microsoft.com/office/officeart/2008/layout/LinedList"/>
    <dgm:cxn modelId="{07DD6B2B-2C15-44E7-AA40-EB529BE5ABE8}" type="presParOf" srcId="{97FB0909-6D05-4FF6-89AE-B2685584168D}" destId="{20D4D459-3B2E-476A-9B33-046531DD4422}" srcOrd="0" destOrd="0" presId="urn:microsoft.com/office/officeart/2008/layout/LinedList"/>
    <dgm:cxn modelId="{55ABED08-2875-412E-9CB2-1301EC7766F3}" type="presParOf" srcId="{97FB0909-6D05-4FF6-89AE-B2685584168D}" destId="{3F9F9DA5-7C84-4E47-B3E0-ADE2A256124A}" srcOrd="1" destOrd="0" presId="urn:microsoft.com/office/officeart/2008/layout/LinedList"/>
    <dgm:cxn modelId="{E82329F4-48A8-47CE-B0B2-140A93085C6D}" type="presParOf" srcId="{97FB0909-6D05-4FF6-89AE-B2685584168D}" destId="{6C7EA926-6FE3-4443-9CAD-A11AB060D1A2}" srcOrd="2" destOrd="0" presId="urn:microsoft.com/office/officeart/2008/layout/LinedList"/>
    <dgm:cxn modelId="{601DB084-3D13-4C69-90D1-430C598E5887}" type="presParOf" srcId="{17784BDA-8B8B-4682-95A0-F0B294A34AA7}" destId="{FA35ECFF-5DF4-4044-8369-59F7AA31F710}" srcOrd="1" destOrd="0" presId="urn:microsoft.com/office/officeart/2008/layout/LinedList"/>
    <dgm:cxn modelId="{2A622EBD-A41C-4B59-8364-41ABBA59272C}" type="presParOf" srcId="{17784BDA-8B8B-4682-95A0-F0B294A34AA7}" destId="{D1D9C7B2-867A-49FB-B6D3-1B72A2009A3A}" srcOrd="2" destOrd="0" presId="urn:microsoft.com/office/officeart/2008/layout/LinedList"/>
    <dgm:cxn modelId="{F68F0E88-8C82-4197-887F-63E7E0251911}" type="presParOf" srcId="{D1D9C7B2-867A-49FB-B6D3-1B72A2009A3A}" destId="{0C130663-779D-4799-B9AB-210CBE1FCED8}" srcOrd="0" destOrd="0" presId="urn:microsoft.com/office/officeart/2008/layout/LinedList"/>
    <dgm:cxn modelId="{8ED79B3D-CC17-478F-AE4F-E52713EA3CFB}" type="presParOf" srcId="{D1D9C7B2-867A-49FB-B6D3-1B72A2009A3A}" destId="{AA8A95A1-434D-45D1-982F-A9CB61ADEB30}" srcOrd="1" destOrd="0" presId="urn:microsoft.com/office/officeart/2008/layout/LinedList"/>
    <dgm:cxn modelId="{63E28312-A9F1-4FD1-8D94-7C7DE4D6B6D1}" type="presParOf" srcId="{D1D9C7B2-867A-49FB-B6D3-1B72A2009A3A}" destId="{59EEE154-99DA-4F61-85A5-89E0261C0BA8}" srcOrd="2" destOrd="0" presId="urn:microsoft.com/office/officeart/2008/layout/LinedList"/>
    <dgm:cxn modelId="{6F4D92C2-57D1-4CDE-8EFB-71C9EC14C219}" type="presParOf" srcId="{F13F8CD3-95F5-4243-924A-D0EBFFFC47F0}" destId="{DCBF579E-B591-490B-9D58-CED3086D1BFC}" srcOrd="2" destOrd="0" presId="urn:microsoft.com/office/officeart/2008/layout/LinedList"/>
    <dgm:cxn modelId="{11A1B316-9466-4CB5-B59C-91ECAB9053FC}" type="presParOf" srcId="{F13F8CD3-95F5-4243-924A-D0EBFFFC47F0}" destId="{19BE37A9-4577-4264-A7CD-25127C5C68B3}" srcOrd="3" destOrd="0" presId="urn:microsoft.com/office/officeart/2008/layout/LinedList"/>
    <dgm:cxn modelId="{958F28DD-A000-4801-8AB6-C5DFBDEA6524}" type="presParOf" srcId="{F13F8CD3-95F5-4243-924A-D0EBFFFC47F0}" destId="{38333751-F803-41BD-B710-67316255CE32}" srcOrd="4" destOrd="0" presId="urn:microsoft.com/office/officeart/2008/layout/LinedList"/>
    <dgm:cxn modelId="{B469B36F-2E3E-4CE2-B7F6-0586B1850B01}" type="presParOf" srcId="{38333751-F803-41BD-B710-67316255CE32}" destId="{1ADA931C-2506-4090-A248-5650960CC25A}" srcOrd="0" destOrd="0" presId="urn:microsoft.com/office/officeart/2008/layout/LinedList"/>
    <dgm:cxn modelId="{6721FC83-2DC5-433C-B09A-299102D089A6}" type="presParOf" srcId="{38333751-F803-41BD-B710-67316255CE32}" destId="{26F09CF2-D015-4485-B200-7FCFEE7C3154}" srcOrd="1" destOrd="0" presId="urn:microsoft.com/office/officeart/2008/layout/LinedList"/>
    <dgm:cxn modelId="{2F981C5A-B458-468C-ACFB-55AFB7173B91}" type="presParOf" srcId="{38333751-F803-41BD-B710-67316255CE32}" destId="{D93F5360-4904-45E7-8EBF-BB92F7D34E67}" srcOrd="2" destOrd="0" presId="urn:microsoft.com/office/officeart/2008/layout/LinedList"/>
    <dgm:cxn modelId="{A6387744-E4F8-450D-8A79-94FEF4D542EC}" type="presParOf" srcId="{F13F8CD3-95F5-4243-924A-D0EBFFFC47F0}" destId="{27A6EC35-47A1-4890-9FC3-87E66964CC9A}" srcOrd="5" destOrd="0" presId="urn:microsoft.com/office/officeart/2008/layout/LinedList"/>
    <dgm:cxn modelId="{997483E0-3E15-46D1-9BC7-53EF0C86FFC6}" type="presParOf" srcId="{F13F8CD3-95F5-4243-924A-D0EBFFFC47F0}" destId="{3B073E01-B31D-44F9-8C05-8FFD1FFD8CC3}" srcOrd="6" destOrd="0" presId="urn:microsoft.com/office/officeart/2008/layout/LinedList"/>
    <dgm:cxn modelId="{4116686B-56E4-428A-88E0-E74C5462E883}" type="presParOf" srcId="{F13F8CD3-95F5-4243-924A-D0EBFFFC47F0}" destId="{91926FD7-15C3-4923-B1D9-293A02929318}" srcOrd="7" destOrd="0" presId="urn:microsoft.com/office/officeart/2008/layout/LinedList"/>
    <dgm:cxn modelId="{1BAB5093-0A36-4BB8-B8C0-B4F502273D88}" type="presParOf" srcId="{91926FD7-15C3-4923-B1D9-293A02929318}" destId="{D3F5AC56-7F3D-4F1C-A494-5E1AA42AE764}" srcOrd="0" destOrd="0" presId="urn:microsoft.com/office/officeart/2008/layout/LinedList"/>
    <dgm:cxn modelId="{4692B345-2EC1-4C4F-9CF8-F57152FE316E}" type="presParOf" srcId="{91926FD7-15C3-4923-B1D9-293A02929318}" destId="{1A53C937-86FB-44A7-BEEB-D9342D00D6A3}" srcOrd="1" destOrd="0" presId="urn:microsoft.com/office/officeart/2008/layout/LinedList"/>
    <dgm:cxn modelId="{6432F6B4-BBC8-46A9-8818-6661DBE78F3F}" type="presParOf" srcId="{91926FD7-15C3-4923-B1D9-293A02929318}" destId="{C87655E7-E01B-4164-9706-D5F49765CB14}" srcOrd="2" destOrd="0" presId="urn:microsoft.com/office/officeart/2008/layout/LinedList"/>
    <dgm:cxn modelId="{B7AAA58D-A6F0-4513-975E-C70E0C6B11FE}" type="presParOf" srcId="{F13F8CD3-95F5-4243-924A-D0EBFFFC47F0}" destId="{80E01191-FFF7-4A15-80E7-B23FAC1DD639}" srcOrd="8" destOrd="0" presId="urn:microsoft.com/office/officeart/2008/layout/LinedList"/>
    <dgm:cxn modelId="{85388FF3-B713-412E-A567-E6F22D71ABC6}" type="presParOf" srcId="{F13F8CD3-95F5-4243-924A-D0EBFFFC47F0}" destId="{75B34CED-8196-4D92-844F-AD80221C02AF}" srcOrd="9" destOrd="0" presId="urn:microsoft.com/office/officeart/2008/layout/LinedList"/>
    <dgm:cxn modelId="{2E2B6DA1-AEFF-4964-B863-0FA6AFF92011}" type="presParOf" srcId="{F13F8CD3-95F5-4243-924A-D0EBFFFC47F0}" destId="{26F246D4-81E4-46F8-A196-8150834199E6}" srcOrd="10" destOrd="0" presId="urn:microsoft.com/office/officeart/2008/layout/LinedList"/>
    <dgm:cxn modelId="{D617CA4B-AD79-40F6-87B8-3A0A032DC570}" type="presParOf" srcId="{26F246D4-81E4-46F8-A196-8150834199E6}" destId="{8E74E598-EB30-4336-866E-C33A3CE06CB1}" srcOrd="0" destOrd="0" presId="urn:microsoft.com/office/officeart/2008/layout/LinedList"/>
    <dgm:cxn modelId="{ABB3224B-06D9-4568-8B91-6271DB5C1FB2}" type="presParOf" srcId="{26F246D4-81E4-46F8-A196-8150834199E6}" destId="{C9A92391-5358-469D-9208-9CBA6417CCD8}" srcOrd="1" destOrd="0" presId="urn:microsoft.com/office/officeart/2008/layout/LinedList"/>
    <dgm:cxn modelId="{FA1C7825-9022-4DCC-ADB7-19C01BCDCBD1}" type="presParOf" srcId="{26F246D4-81E4-46F8-A196-8150834199E6}" destId="{9A431965-A576-4322-80DD-DC5698FEBB66}" srcOrd="2" destOrd="0" presId="urn:microsoft.com/office/officeart/2008/layout/LinedList"/>
    <dgm:cxn modelId="{842ACB48-C5FA-488B-B197-C8B954321644}" type="presParOf" srcId="{9A431965-A576-4322-80DD-DC5698FEBB66}" destId="{442D803A-D868-4016-ABEF-14A1D884CD7E}" srcOrd="0" destOrd="0" presId="urn:microsoft.com/office/officeart/2008/layout/LinedList"/>
    <dgm:cxn modelId="{E716AF6E-B23B-493D-A0F2-9A764639F2B6}" type="presParOf" srcId="{442D803A-D868-4016-ABEF-14A1D884CD7E}" destId="{6B5BB555-00ED-4A4C-964A-13569711A9C3}" srcOrd="0" destOrd="0" presId="urn:microsoft.com/office/officeart/2008/layout/LinedList"/>
    <dgm:cxn modelId="{30C349D6-D1AF-4BAA-86A6-31BDB38EFEFA}" type="presParOf" srcId="{442D803A-D868-4016-ABEF-14A1D884CD7E}" destId="{B5761AD8-1798-4534-8CC4-2E7DAAE839F7}" srcOrd="1" destOrd="0" presId="urn:microsoft.com/office/officeart/2008/layout/LinedList"/>
    <dgm:cxn modelId="{6B37F7BD-6160-420F-898C-33A647EB2CA8}" type="presParOf" srcId="{442D803A-D868-4016-ABEF-14A1D884CD7E}" destId="{29B64FFE-2772-4E33-8120-F32E4C8119B8}" srcOrd="2" destOrd="0" presId="urn:microsoft.com/office/officeart/2008/layout/LinedList"/>
    <dgm:cxn modelId="{D98BF364-29F5-4C3E-BFFA-A8D80FFA1543}" type="presParOf" srcId="{F13F8CD3-95F5-4243-924A-D0EBFFFC47F0}" destId="{D36EDCBD-FB1E-4F32-8ED7-BB73BAFDB77D}" srcOrd="11" destOrd="0" presId="urn:microsoft.com/office/officeart/2008/layout/LinedList"/>
    <dgm:cxn modelId="{7A12E30E-2808-4F15-BA73-3B29DBB545EA}" type="presParOf" srcId="{F13F8CD3-95F5-4243-924A-D0EBFFFC47F0}" destId="{7BFE8D42-0D11-4A1A-B98E-DC32BAF29C0B}" srcOrd="12"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3FC593E-A188-4AED-9B9D-CBF41CFE2764}"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9E971E9D-A49E-4942-BFA2-71C276F59721}">
      <dgm:prSet custT="1"/>
      <dgm:spPr/>
      <dgm:t>
        <a:bodyPr/>
        <a:lstStyle/>
        <a:p>
          <a:r>
            <a:rPr lang="en-US" sz="2800" dirty="0"/>
            <a:t>Many large image files on page</a:t>
          </a:r>
        </a:p>
      </dgm:t>
    </dgm:pt>
    <dgm:pt modelId="{29FA3332-CE5A-433E-A8E4-9D3C923F4E68}" type="parTrans" cxnId="{9BEB9E02-CF3A-4C68-B687-DD6B38508BFC}">
      <dgm:prSet/>
      <dgm:spPr/>
      <dgm:t>
        <a:bodyPr/>
        <a:lstStyle/>
        <a:p>
          <a:endParaRPr lang="en-US"/>
        </a:p>
      </dgm:t>
    </dgm:pt>
    <dgm:pt modelId="{E6AA1D56-BEE8-43EB-BE82-1857DFFA66D5}" type="sibTrans" cxnId="{9BEB9E02-CF3A-4C68-B687-DD6B38508BFC}">
      <dgm:prSet/>
      <dgm:spPr/>
      <dgm:t>
        <a:bodyPr/>
        <a:lstStyle/>
        <a:p>
          <a:endParaRPr lang="en-US"/>
        </a:p>
      </dgm:t>
    </dgm:pt>
    <dgm:pt modelId="{E3191859-3089-4755-80D3-3FB6BA9D062C}">
      <dgm:prSet/>
      <dgm:spPr/>
      <dgm:t>
        <a:bodyPr/>
        <a:lstStyle/>
        <a:p>
          <a:r>
            <a:rPr lang="en-US" dirty="0"/>
            <a:t>Many large static files within a SharePoint page can have a significant impact on page performance</a:t>
          </a:r>
        </a:p>
      </dgm:t>
    </dgm:pt>
    <dgm:pt modelId="{655D4336-3214-49F6-ACF7-F6B89C6F8B54}" type="parTrans" cxnId="{1BFF794A-7406-44CC-888B-D2CF573A1D9C}">
      <dgm:prSet/>
      <dgm:spPr/>
      <dgm:t>
        <a:bodyPr/>
        <a:lstStyle/>
        <a:p>
          <a:endParaRPr lang="en-US"/>
        </a:p>
      </dgm:t>
    </dgm:pt>
    <dgm:pt modelId="{FBE013E1-3EAE-45FD-9719-B099230DF613}" type="sibTrans" cxnId="{1BFF794A-7406-44CC-888B-D2CF573A1D9C}">
      <dgm:prSet/>
      <dgm:spPr/>
      <dgm:t>
        <a:bodyPr/>
        <a:lstStyle/>
        <a:p>
          <a:endParaRPr lang="en-US"/>
        </a:p>
      </dgm:t>
    </dgm:pt>
    <dgm:pt modelId="{49499207-4605-44FB-8EE9-9E80ADA919FF}">
      <dgm:prSet/>
      <dgm:spPr/>
      <dgm:t>
        <a:bodyPr/>
        <a:lstStyle/>
        <a:p>
          <a:r>
            <a:rPr lang="en-US" dirty="0"/>
            <a:t>Ex: (3 images @5mb per image = 15mb) x 40,000 page loads per day (for typical portal) = just over 585GB over the network just for that page.</a:t>
          </a:r>
        </a:p>
      </dgm:t>
    </dgm:pt>
    <dgm:pt modelId="{E84796B9-4C20-4072-B419-82477DC78E2F}" type="parTrans" cxnId="{D87A6754-9859-4FB0-9473-C78C891E530A}">
      <dgm:prSet/>
      <dgm:spPr/>
      <dgm:t>
        <a:bodyPr/>
        <a:lstStyle/>
        <a:p>
          <a:endParaRPr lang="en-US"/>
        </a:p>
      </dgm:t>
    </dgm:pt>
    <dgm:pt modelId="{D984DAA0-579D-4799-BC30-7F833E056140}" type="sibTrans" cxnId="{D87A6754-9859-4FB0-9473-C78C891E530A}">
      <dgm:prSet/>
      <dgm:spPr/>
      <dgm:t>
        <a:bodyPr/>
        <a:lstStyle/>
        <a:p>
          <a:endParaRPr lang="en-US"/>
        </a:p>
      </dgm:t>
    </dgm:pt>
    <dgm:pt modelId="{ECD17370-3FDF-41DC-B200-6E9222637874}">
      <dgm:prSet/>
      <dgm:spPr/>
      <dgm:t>
        <a:bodyPr/>
        <a:lstStyle/>
        <a:p>
          <a:r>
            <a:rPr lang="en-US" dirty="0"/>
            <a:t>This also means at least 120,000 calls to SQL (40,000 x 3 images) which can be avoided if they are in CDN as SQL is not used to return the images for the CDNs.</a:t>
          </a:r>
        </a:p>
      </dgm:t>
    </dgm:pt>
    <dgm:pt modelId="{9DD8DAA0-75C1-4FD3-ADDF-14F35853C8FD}" type="parTrans" cxnId="{8C9F65CB-133D-4700-9E35-85A712491D23}">
      <dgm:prSet/>
      <dgm:spPr/>
      <dgm:t>
        <a:bodyPr/>
        <a:lstStyle/>
        <a:p>
          <a:endParaRPr lang="en-US"/>
        </a:p>
      </dgm:t>
    </dgm:pt>
    <dgm:pt modelId="{523EB004-1B5D-42DB-BD69-4DA7F230A8F3}" type="sibTrans" cxnId="{8C9F65CB-133D-4700-9E35-85A712491D23}">
      <dgm:prSet/>
      <dgm:spPr/>
      <dgm:t>
        <a:bodyPr/>
        <a:lstStyle/>
        <a:p>
          <a:endParaRPr lang="en-US"/>
        </a:p>
      </dgm:t>
    </dgm:pt>
    <dgm:pt modelId="{E36AC16C-A62A-4C24-8010-4A996C51F04B}">
      <dgm:prSet/>
      <dgm:spPr/>
      <dgm:t>
        <a:bodyPr/>
        <a:lstStyle/>
        <a:p>
          <a:r>
            <a:rPr lang="en-US" dirty="0"/>
            <a:t>JS and CSS files are common static files that can also be served from CDN</a:t>
          </a:r>
        </a:p>
      </dgm:t>
    </dgm:pt>
    <dgm:pt modelId="{C2066278-6C53-49BA-AB33-49DCC271074F}" type="parTrans" cxnId="{55CC8850-AAAB-420E-A569-37459ACE153E}">
      <dgm:prSet/>
      <dgm:spPr/>
      <dgm:t>
        <a:bodyPr/>
        <a:lstStyle/>
        <a:p>
          <a:endParaRPr lang="en-US"/>
        </a:p>
      </dgm:t>
    </dgm:pt>
    <dgm:pt modelId="{8B4D18CE-4C38-4F92-971D-3FC154474B77}" type="sibTrans" cxnId="{55CC8850-AAAB-420E-A569-37459ACE153E}">
      <dgm:prSet/>
      <dgm:spPr/>
      <dgm:t>
        <a:bodyPr/>
        <a:lstStyle/>
        <a:p>
          <a:endParaRPr lang="en-US"/>
        </a:p>
      </dgm:t>
    </dgm:pt>
    <dgm:pt modelId="{8B25B82E-23A2-4D8C-919A-4E6E34A153B9}">
      <dgm:prSet/>
      <dgm:spPr/>
      <dgm:t>
        <a:bodyPr/>
        <a:lstStyle/>
        <a:p>
          <a:r>
            <a:rPr lang="en-US"/>
            <a:t>CDNs also use HTTP2 which allows images to be loaded much faster and reduces bottlenecks on the page.</a:t>
          </a:r>
        </a:p>
      </dgm:t>
    </dgm:pt>
    <dgm:pt modelId="{D8B5E052-BD9F-4AA0-81C8-3CDB5BC87F48}" type="parTrans" cxnId="{2087BAA8-23C0-4D29-831C-A000B7F5B1F6}">
      <dgm:prSet/>
      <dgm:spPr/>
      <dgm:t>
        <a:bodyPr/>
        <a:lstStyle/>
        <a:p>
          <a:endParaRPr lang="en-US"/>
        </a:p>
      </dgm:t>
    </dgm:pt>
    <dgm:pt modelId="{89C9F8C7-2E00-4297-B981-E89570360F8E}" type="sibTrans" cxnId="{2087BAA8-23C0-4D29-831C-A000B7F5B1F6}">
      <dgm:prSet/>
      <dgm:spPr/>
      <dgm:t>
        <a:bodyPr/>
        <a:lstStyle/>
        <a:p>
          <a:endParaRPr lang="en-US"/>
        </a:p>
      </dgm:t>
    </dgm:pt>
    <dgm:pt modelId="{536BD8E1-7EC6-488C-9E08-265AF8E13F91}" type="pres">
      <dgm:prSet presAssocID="{C3FC593E-A188-4AED-9B9D-CBF41CFE2764}" presName="vert0" presStyleCnt="0">
        <dgm:presLayoutVars>
          <dgm:dir/>
          <dgm:animOne val="branch"/>
          <dgm:animLvl val="lvl"/>
        </dgm:presLayoutVars>
      </dgm:prSet>
      <dgm:spPr/>
    </dgm:pt>
    <dgm:pt modelId="{234D8EDA-41DC-484B-BCF2-4AFF80013C1D}" type="pres">
      <dgm:prSet presAssocID="{9E971E9D-A49E-4942-BFA2-71C276F59721}" presName="thickLine" presStyleLbl="alignNode1" presStyleIdx="0" presStyleCnt="1"/>
      <dgm:spPr/>
    </dgm:pt>
    <dgm:pt modelId="{98D8CFDB-778F-4F9A-B1AA-F21F2110559B}" type="pres">
      <dgm:prSet presAssocID="{9E971E9D-A49E-4942-BFA2-71C276F59721}" presName="horz1" presStyleCnt="0"/>
      <dgm:spPr/>
    </dgm:pt>
    <dgm:pt modelId="{B6670CE0-DD86-4A72-80A8-1A405FDB489D}" type="pres">
      <dgm:prSet presAssocID="{9E971E9D-A49E-4942-BFA2-71C276F59721}" presName="tx1" presStyleLbl="revTx" presStyleIdx="0" presStyleCnt="6"/>
      <dgm:spPr/>
    </dgm:pt>
    <dgm:pt modelId="{F3201F47-C000-4D84-87FC-2DBC268AABCB}" type="pres">
      <dgm:prSet presAssocID="{9E971E9D-A49E-4942-BFA2-71C276F59721}" presName="vert1" presStyleCnt="0"/>
      <dgm:spPr/>
    </dgm:pt>
    <dgm:pt modelId="{27A717A0-D675-401E-9C26-43F8BD91EEE2}" type="pres">
      <dgm:prSet presAssocID="{E3191859-3089-4755-80D3-3FB6BA9D062C}" presName="vertSpace2a" presStyleCnt="0"/>
      <dgm:spPr/>
    </dgm:pt>
    <dgm:pt modelId="{0F64F0BD-22FB-4CA4-BEF0-37F029DF7713}" type="pres">
      <dgm:prSet presAssocID="{E3191859-3089-4755-80D3-3FB6BA9D062C}" presName="horz2" presStyleCnt="0"/>
      <dgm:spPr/>
    </dgm:pt>
    <dgm:pt modelId="{E2FD8E17-9772-4BC2-8F10-3C694A88D0F9}" type="pres">
      <dgm:prSet presAssocID="{E3191859-3089-4755-80D3-3FB6BA9D062C}" presName="horzSpace2" presStyleCnt="0"/>
      <dgm:spPr/>
    </dgm:pt>
    <dgm:pt modelId="{259DB671-0576-4C04-BCCA-E5332C8DDC29}" type="pres">
      <dgm:prSet presAssocID="{E3191859-3089-4755-80D3-3FB6BA9D062C}" presName="tx2" presStyleLbl="revTx" presStyleIdx="1" presStyleCnt="6"/>
      <dgm:spPr/>
    </dgm:pt>
    <dgm:pt modelId="{F43DD3FE-E438-4719-B1CC-43D9D80BB18B}" type="pres">
      <dgm:prSet presAssocID="{E3191859-3089-4755-80D3-3FB6BA9D062C}" presName="vert2" presStyleCnt="0"/>
      <dgm:spPr/>
    </dgm:pt>
    <dgm:pt modelId="{5B213D60-D55D-453C-B433-AEC8385BA653}" type="pres">
      <dgm:prSet presAssocID="{49499207-4605-44FB-8EE9-9E80ADA919FF}" presName="horz3" presStyleCnt="0"/>
      <dgm:spPr/>
    </dgm:pt>
    <dgm:pt modelId="{06DD3D29-58FD-4230-AF6E-C321AB0E195F}" type="pres">
      <dgm:prSet presAssocID="{49499207-4605-44FB-8EE9-9E80ADA919FF}" presName="horzSpace3" presStyleCnt="0"/>
      <dgm:spPr/>
    </dgm:pt>
    <dgm:pt modelId="{C94DD6CB-210D-4217-A4D0-86E9327F35EA}" type="pres">
      <dgm:prSet presAssocID="{49499207-4605-44FB-8EE9-9E80ADA919FF}" presName="tx3" presStyleLbl="revTx" presStyleIdx="2" presStyleCnt="6"/>
      <dgm:spPr/>
    </dgm:pt>
    <dgm:pt modelId="{1D6B146F-1DEF-4B7F-B094-16287444EEB0}" type="pres">
      <dgm:prSet presAssocID="{49499207-4605-44FB-8EE9-9E80ADA919FF}" presName="vert3" presStyleCnt="0"/>
      <dgm:spPr/>
    </dgm:pt>
    <dgm:pt modelId="{6AF0B048-D34A-4994-A910-B5AEC9E220E0}" type="pres">
      <dgm:prSet presAssocID="{E3191859-3089-4755-80D3-3FB6BA9D062C}" presName="thinLine2b" presStyleLbl="callout" presStyleIdx="0" presStyleCnt="4"/>
      <dgm:spPr/>
    </dgm:pt>
    <dgm:pt modelId="{8A84ED4E-C0C1-4445-8271-CB7648263314}" type="pres">
      <dgm:prSet presAssocID="{E3191859-3089-4755-80D3-3FB6BA9D062C}" presName="vertSpace2b" presStyleCnt="0"/>
      <dgm:spPr/>
    </dgm:pt>
    <dgm:pt modelId="{D58DA4DA-9D4C-46A1-BC22-5AD084618652}" type="pres">
      <dgm:prSet presAssocID="{ECD17370-3FDF-41DC-B200-6E9222637874}" presName="horz2" presStyleCnt="0"/>
      <dgm:spPr/>
    </dgm:pt>
    <dgm:pt modelId="{12723725-5B60-46DB-ABE1-2AD0436F45BC}" type="pres">
      <dgm:prSet presAssocID="{ECD17370-3FDF-41DC-B200-6E9222637874}" presName="horzSpace2" presStyleCnt="0"/>
      <dgm:spPr/>
    </dgm:pt>
    <dgm:pt modelId="{0A5B9618-F1A6-4CFF-A76B-087016599673}" type="pres">
      <dgm:prSet presAssocID="{ECD17370-3FDF-41DC-B200-6E9222637874}" presName="tx2" presStyleLbl="revTx" presStyleIdx="3" presStyleCnt="6"/>
      <dgm:spPr/>
    </dgm:pt>
    <dgm:pt modelId="{08676E0A-4F5F-4C76-A3E8-23AD97C6DBD2}" type="pres">
      <dgm:prSet presAssocID="{ECD17370-3FDF-41DC-B200-6E9222637874}" presName="vert2" presStyleCnt="0"/>
      <dgm:spPr/>
    </dgm:pt>
    <dgm:pt modelId="{E9573895-F188-4179-AB18-388F5A770BCB}" type="pres">
      <dgm:prSet presAssocID="{ECD17370-3FDF-41DC-B200-6E9222637874}" presName="thinLine2b" presStyleLbl="callout" presStyleIdx="1" presStyleCnt="4"/>
      <dgm:spPr/>
    </dgm:pt>
    <dgm:pt modelId="{B0568700-AAE8-40F2-A7FB-430EF91A242D}" type="pres">
      <dgm:prSet presAssocID="{ECD17370-3FDF-41DC-B200-6E9222637874}" presName="vertSpace2b" presStyleCnt="0"/>
      <dgm:spPr/>
    </dgm:pt>
    <dgm:pt modelId="{48B6F256-4B2F-4519-B935-9899DDED5570}" type="pres">
      <dgm:prSet presAssocID="{E36AC16C-A62A-4C24-8010-4A996C51F04B}" presName="horz2" presStyleCnt="0"/>
      <dgm:spPr/>
    </dgm:pt>
    <dgm:pt modelId="{797A7093-E253-41FA-9E6C-807DBB66A04A}" type="pres">
      <dgm:prSet presAssocID="{E36AC16C-A62A-4C24-8010-4A996C51F04B}" presName="horzSpace2" presStyleCnt="0"/>
      <dgm:spPr/>
    </dgm:pt>
    <dgm:pt modelId="{E0C18FCC-A4D9-4BA3-AC17-2F69027CABB7}" type="pres">
      <dgm:prSet presAssocID="{E36AC16C-A62A-4C24-8010-4A996C51F04B}" presName="tx2" presStyleLbl="revTx" presStyleIdx="4" presStyleCnt="6"/>
      <dgm:spPr/>
    </dgm:pt>
    <dgm:pt modelId="{4C81C4A8-9DB9-4614-A3DB-2D7F6ED6E253}" type="pres">
      <dgm:prSet presAssocID="{E36AC16C-A62A-4C24-8010-4A996C51F04B}" presName="vert2" presStyleCnt="0"/>
      <dgm:spPr/>
    </dgm:pt>
    <dgm:pt modelId="{34879362-2C1B-4017-B217-93DFF1247DDC}" type="pres">
      <dgm:prSet presAssocID="{E36AC16C-A62A-4C24-8010-4A996C51F04B}" presName="thinLine2b" presStyleLbl="callout" presStyleIdx="2" presStyleCnt="4"/>
      <dgm:spPr/>
    </dgm:pt>
    <dgm:pt modelId="{89325E47-F260-4313-A936-DFCDD7310524}" type="pres">
      <dgm:prSet presAssocID="{E36AC16C-A62A-4C24-8010-4A996C51F04B}" presName="vertSpace2b" presStyleCnt="0"/>
      <dgm:spPr/>
    </dgm:pt>
    <dgm:pt modelId="{F3B5873C-B228-423C-A141-8BF88D861E4A}" type="pres">
      <dgm:prSet presAssocID="{8B25B82E-23A2-4D8C-919A-4E6E34A153B9}" presName="horz2" presStyleCnt="0"/>
      <dgm:spPr/>
    </dgm:pt>
    <dgm:pt modelId="{0F28E97E-0D57-4AFC-AEDB-873875A255E7}" type="pres">
      <dgm:prSet presAssocID="{8B25B82E-23A2-4D8C-919A-4E6E34A153B9}" presName="horzSpace2" presStyleCnt="0"/>
      <dgm:spPr/>
    </dgm:pt>
    <dgm:pt modelId="{6A54C384-2DB4-4B17-AEA3-C510C030DB73}" type="pres">
      <dgm:prSet presAssocID="{8B25B82E-23A2-4D8C-919A-4E6E34A153B9}" presName="tx2" presStyleLbl="revTx" presStyleIdx="5" presStyleCnt="6"/>
      <dgm:spPr/>
    </dgm:pt>
    <dgm:pt modelId="{17D2AE35-5103-4495-90C1-BC986D474FCD}" type="pres">
      <dgm:prSet presAssocID="{8B25B82E-23A2-4D8C-919A-4E6E34A153B9}" presName="vert2" presStyleCnt="0"/>
      <dgm:spPr/>
    </dgm:pt>
    <dgm:pt modelId="{8EE7DC27-79FA-48FF-9CB3-2B628089FA3E}" type="pres">
      <dgm:prSet presAssocID="{8B25B82E-23A2-4D8C-919A-4E6E34A153B9}" presName="thinLine2b" presStyleLbl="callout" presStyleIdx="3" presStyleCnt="4"/>
      <dgm:spPr/>
    </dgm:pt>
    <dgm:pt modelId="{6CEE76FA-D421-4648-AB9F-45DE27D048AC}" type="pres">
      <dgm:prSet presAssocID="{8B25B82E-23A2-4D8C-919A-4E6E34A153B9}" presName="vertSpace2b" presStyleCnt="0"/>
      <dgm:spPr/>
    </dgm:pt>
  </dgm:ptLst>
  <dgm:cxnLst>
    <dgm:cxn modelId="{9BEB9E02-CF3A-4C68-B687-DD6B38508BFC}" srcId="{C3FC593E-A188-4AED-9B9D-CBF41CFE2764}" destId="{9E971E9D-A49E-4942-BFA2-71C276F59721}" srcOrd="0" destOrd="0" parTransId="{29FA3332-CE5A-433E-A8E4-9D3C923F4E68}" sibTransId="{E6AA1D56-BEE8-43EB-BE82-1857DFFA66D5}"/>
    <dgm:cxn modelId="{EB0B550D-07B5-4567-B1B9-A4EB8D543DBE}" type="presOf" srcId="{49499207-4605-44FB-8EE9-9E80ADA919FF}" destId="{C94DD6CB-210D-4217-A4D0-86E9327F35EA}" srcOrd="0" destOrd="0" presId="urn:microsoft.com/office/officeart/2008/layout/LinedList"/>
    <dgm:cxn modelId="{1CA15260-E9AC-4939-A24D-1657FB4A447E}" type="presOf" srcId="{E36AC16C-A62A-4C24-8010-4A996C51F04B}" destId="{E0C18FCC-A4D9-4BA3-AC17-2F69027CABB7}" srcOrd="0" destOrd="0" presId="urn:microsoft.com/office/officeart/2008/layout/LinedList"/>
    <dgm:cxn modelId="{1BFF794A-7406-44CC-888B-D2CF573A1D9C}" srcId="{9E971E9D-A49E-4942-BFA2-71C276F59721}" destId="{E3191859-3089-4755-80D3-3FB6BA9D062C}" srcOrd="0" destOrd="0" parTransId="{655D4336-3214-49F6-ACF7-F6B89C6F8B54}" sibTransId="{FBE013E1-3EAE-45FD-9719-B099230DF613}"/>
    <dgm:cxn modelId="{55CC8850-AAAB-420E-A569-37459ACE153E}" srcId="{9E971E9D-A49E-4942-BFA2-71C276F59721}" destId="{E36AC16C-A62A-4C24-8010-4A996C51F04B}" srcOrd="2" destOrd="0" parTransId="{C2066278-6C53-49BA-AB33-49DCC271074F}" sibTransId="{8B4D18CE-4C38-4F92-971D-3FC154474B77}"/>
    <dgm:cxn modelId="{D87A6754-9859-4FB0-9473-C78C891E530A}" srcId="{E3191859-3089-4755-80D3-3FB6BA9D062C}" destId="{49499207-4605-44FB-8EE9-9E80ADA919FF}" srcOrd="0" destOrd="0" parTransId="{E84796B9-4C20-4072-B419-82477DC78E2F}" sibTransId="{D984DAA0-579D-4799-BC30-7F833E056140}"/>
    <dgm:cxn modelId="{3950587B-2823-4B09-996B-8867FD67ED36}" type="presOf" srcId="{E3191859-3089-4755-80D3-3FB6BA9D062C}" destId="{259DB671-0576-4C04-BCCA-E5332C8DDC29}" srcOrd="0" destOrd="0" presId="urn:microsoft.com/office/officeart/2008/layout/LinedList"/>
    <dgm:cxn modelId="{4C8E497E-BCCD-4373-AB4A-BFC0EA55890A}" type="presOf" srcId="{9E971E9D-A49E-4942-BFA2-71C276F59721}" destId="{B6670CE0-DD86-4A72-80A8-1A405FDB489D}" srcOrd="0" destOrd="0" presId="urn:microsoft.com/office/officeart/2008/layout/LinedList"/>
    <dgm:cxn modelId="{D0D0259D-A6ED-4585-8787-4B2927B9DE33}" type="presOf" srcId="{ECD17370-3FDF-41DC-B200-6E9222637874}" destId="{0A5B9618-F1A6-4CFF-A76B-087016599673}" srcOrd="0" destOrd="0" presId="urn:microsoft.com/office/officeart/2008/layout/LinedList"/>
    <dgm:cxn modelId="{2087BAA8-23C0-4D29-831C-A000B7F5B1F6}" srcId="{9E971E9D-A49E-4942-BFA2-71C276F59721}" destId="{8B25B82E-23A2-4D8C-919A-4E6E34A153B9}" srcOrd="3" destOrd="0" parTransId="{D8B5E052-BD9F-4AA0-81C8-3CDB5BC87F48}" sibTransId="{89C9F8C7-2E00-4297-B981-E89570360F8E}"/>
    <dgm:cxn modelId="{28A037C9-B48D-46ED-A580-6656A4D1C41F}" type="presOf" srcId="{8B25B82E-23A2-4D8C-919A-4E6E34A153B9}" destId="{6A54C384-2DB4-4B17-AEA3-C510C030DB73}" srcOrd="0" destOrd="0" presId="urn:microsoft.com/office/officeart/2008/layout/LinedList"/>
    <dgm:cxn modelId="{8C9F65CB-133D-4700-9E35-85A712491D23}" srcId="{9E971E9D-A49E-4942-BFA2-71C276F59721}" destId="{ECD17370-3FDF-41DC-B200-6E9222637874}" srcOrd="1" destOrd="0" parTransId="{9DD8DAA0-75C1-4FD3-ADDF-14F35853C8FD}" sibTransId="{523EB004-1B5D-42DB-BD69-4DA7F230A8F3}"/>
    <dgm:cxn modelId="{2BC675FF-A7D2-42BF-A56D-7CA2089302E2}" type="presOf" srcId="{C3FC593E-A188-4AED-9B9D-CBF41CFE2764}" destId="{536BD8E1-7EC6-488C-9E08-265AF8E13F91}" srcOrd="0" destOrd="0" presId="urn:microsoft.com/office/officeart/2008/layout/LinedList"/>
    <dgm:cxn modelId="{8AD70569-F371-4E80-8184-789AF3A90785}" type="presParOf" srcId="{536BD8E1-7EC6-488C-9E08-265AF8E13F91}" destId="{234D8EDA-41DC-484B-BCF2-4AFF80013C1D}" srcOrd="0" destOrd="0" presId="urn:microsoft.com/office/officeart/2008/layout/LinedList"/>
    <dgm:cxn modelId="{650F2FDA-54AF-4E04-9521-552177D1D509}" type="presParOf" srcId="{536BD8E1-7EC6-488C-9E08-265AF8E13F91}" destId="{98D8CFDB-778F-4F9A-B1AA-F21F2110559B}" srcOrd="1" destOrd="0" presId="urn:microsoft.com/office/officeart/2008/layout/LinedList"/>
    <dgm:cxn modelId="{1DD27450-A2C9-4EF1-8624-AB9F2AB41E50}" type="presParOf" srcId="{98D8CFDB-778F-4F9A-B1AA-F21F2110559B}" destId="{B6670CE0-DD86-4A72-80A8-1A405FDB489D}" srcOrd="0" destOrd="0" presId="urn:microsoft.com/office/officeart/2008/layout/LinedList"/>
    <dgm:cxn modelId="{080D8FC0-D2E1-4776-8BAA-93572EB5C88A}" type="presParOf" srcId="{98D8CFDB-778F-4F9A-B1AA-F21F2110559B}" destId="{F3201F47-C000-4D84-87FC-2DBC268AABCB}" srcOrd="1" destOrd="0" presId="urn:microsoft.com/office/officeart/2008/layout/LinedList"/>
    <dgm:cxn modelId="{D124B88A-28F4-4DF8-8A8F-F449B8018FD3}" type="presParOf" srcId="{F3201F47-C000-4D84-87FC-2DBC268AABCB}" destId="{27A717A0-D675-401E-9C26-43F8BD91EEE2}" srcOrd="0" destOrd="0" presId="urn:microsoft.com/office/officeart/2008/layout/LinedList"/>
    <dgm:cxn modelId="{DD2F2BDE-DCA3-4C83-ABF8-5C272470C5B9}" type="presParOf" srcId="{F3201F47-C000-4D84-87FC-2DBC268AABCB}" destId="{0F64F0BD-22FB-4CA4-BEF0-37F029DF7713}" srcOrd="1" destOrd="0" presId="urn:microsoft.com/office/officeart/2008/layout/LinedList"/>
    <dgm:cxn modelId="{3E465E92-F6DC-4EA5-9D57-DD01BCB2A5E5}" type="presParOf" srcId="{0F64F0BD-22FB-4CA4-BEF0-37F029DF7713}" destId="{E2FD8E17-9772-4BC2-8F10-3C694A88D0F9}" srcOrd="0" destOrd="0" presId="urn:microsoft.com/office/officeart/2008/layout/LinedList"/>
    <dgm:cxn modelId="{41AE7527-01A3-48FD-922C-16383C855429}" type="presParOf" srcId="{0F64F0BD-22FB-4CA4-BEF0-37F029DF7713}" destId="{259DB671-0576-4C04-BCCA-E5332C8DDC29}" srcOrd="1" destOrd="0" presId="urn:microsoft.com/office/officeart/2008/layout/LinedList"/>
    <dgm:cxn modelId="{9B8A557D-075A-46C6-AC4A-2D84CC7B2AA8}" type="presParOf" srcId="{0F64F0BD-22FB-4CA4-BEF0-37F029DF7713}" destId="{F43DD3FE-E438-4719-B1CC-43D9D80BB18B}" srcOrd="2" destOrd="0" presId="urn:microsoft.com/office/officeart/2008/layout/LinedList"/>
    <dgm:cxn modelId="{41EAC9E2-B142-496B-90C5-EE2653A50261}" type="presParOf" srcId="{F43DD3FE-E438-4719-B1CC-43D9D80BB18B}" destId="{5B213D60-D55D-453C-B433-AEC8385BA653}" srcOrd="0" destOrd="0" presId="urn:microsoft.com/office/officeart/2008/layout/LinedList"/>
    <dgm:cxn modelId="{D9F36A0A-9BE8-489E-9A42-8ADDD60F4204}" type="presParOf" srcId="{5B213D60-D55D-453C-B433-AEC8385BA653}" destId="{06DD3D29-58FD-4230-AF6E-C321AB0E195F}" srcOrd="0" destOrd="0" presId="urn:microsoft.com/office/officeart/2008/layout/LinedList"/>
    <dgm:cxn modelId="{F89AE19C-54BA-4D3D-85ED-FDCCD0F302A6}" type="presParOf" srcId="{5B213D60-D55D-453C-B433-AEC8385BA653}" destId="{C94DD6CB-210D-4217-A4D0-86E9327F35EA}" srcOrd="1" destOrd="0" presId="urn:microsoft.com/office/officeart/2008/layout/LinedList"/>
    <dgm:cxn modelId="{D6BDA825-3C3E-4B89-853E-625D66D57ED6}" type="presParOf" srcId="{5B213D60-D55D-453C-B433-AEC8385BA653}" destId="{1D6B146F-1DEF-4B7F-B094-16287444EEB0}" srcOrd="2" destOrd="0" presId="urn:microsoft.com/office/officeart/2008/layout/LinedList"/>
    <dgm:cxn modelId="{EE9CE983-3605-42DE-B6DE-08398F57A1F2}" type="presParOf" srcId="{F3201F47-C000-4D84-87FC-2DBC268AABCB}" destId="{6AF0B048-D34A-4994-A910-B5AEC9E220E0}" srcOrd="2" destOrd="0" presId="urn:microsoft.com/office/officeart/2008/layout/LinedList"/>
    <dgm:cxn modelId="{3275DA6B-A43D-43F6-A3F0-96DE4C70A25B}" type="presParOf" srcId="{F3201F47-C000-4D84-87FC-2DBC268AABCB}" destId="{8A84ED4E-C0C1-4445-8271-CB7648263314}" srcOrd="3" destOrd="0" presId="urn:microsoft.com/office/officeart/2008/layout/LinedList"/>
    <dgm:cxn modelId="{34A7C1BC-201F-4D6D-A6E7-248045C518FF}" type="presParOf" srcId="{F3201F47-C000-4D84-87FC-2DBC268AABCB}" destId="{D58DA4DA-9D4C-46A1-BC22-5AD084618652}" srcOrd="4" destOrd="0" presId="urn:microsoft.com/office/officeart/2008/layout/LinedList"/>
    <dgm:cxn modelId="{C3C50168-EF5C-45B9-BC07-D76DBAB8E250}" type="presParOf" srcId="{D58DA4DA-9D4C-46A1-BC22-5AD084618652}" destId="{12723725-5B60-46DB-ABE1-2AD0436F45BC}" srcOrd="0" destOrd="0" presId="urn:microsoft.com/office/officeart/2008/layout/LinedList"/>
    <dgm:cxn modelId="{03AEB663-897F-4F21-9677-843D4970CAA5}" type="presParOf" srcId="{D58DA4DA-9D4C-46A1-BC22-5AD084618652}" destId="{0A5B9618-F1A6-4CFF-A76B-087016599673}" srcOrd="1" destOrd="0" presId="urn:microsoft.com/office/officeart/2008/layout/LinedList"/>
    <dgm:cxn modelId="{07A1ABDC-E2F4-4772-91D0-63C50B867133}" type="presParOf" srcId="{D58DA4DA-9D4C-46A1-BC22-5AD084618652}" destId="{08676E0A-4F5F-4C76-A3E8-23AD97C6DBD2}" srcOrd="2" destOrd="0" presId="urn:microsoft.com/office/officeart/2008/layout/LinedList"/>
    <dgm:cxn modelId="{D3EF18D7-25DA-442B-B8F8-8F5FA9E56DAE}" type="presParOf" srcId="{F3201F47-C000-4D84-87FC-2DBC268AABCB}" destId="{E9573895-F188-4179-AB18-388F5A770BCB}" srcOrd="5" destOrd="0" presId="urn:microsoft.com/office/officeart/2008/layout/LinedList"/>
    <dgm:cxn modelId="{ACB0D126-940C-477D-8B81-8367A0EFC621}" type="presParOf" srcId="{F3201F47-C000-4D84-87FC-2DBC268AABCB}" destId="{B0568700-AAE8-40F2-A7FB-430EF91A242D}" srcOrd="6" destOrd="0" presId="urn:microsoft.com/office/officeart/2008/layout/LinedList"/>
    <dgm:cxn modelId="{AE234A95-9B55-4FC4-B89C-6C3C379E814D}" type="presParOf" srcId="{F3201F47-C000-4D84-87FC-2DBC268AABCB}" destId="{48B6F256-4B2F-4519-B935-9899DDED5570}" srcOrd="7" destOrd="0" presId="urn:microsoft.com/office/officeart/2008/layout/LinedList"/>
    <dgm:cxn modelId="{AF99F131-13F3-4812-9292-6ADED6823552}" type="presParOf" srcId="{48B6F256-4B2F-4519-B935-9899DDED5570}" destId="{797A7093-E253-41FA-9E6C-807DBB66A04A}" srcOrd="0" destOrd="0" presId="urn:microsoft.com/office/officeart/2008/layout/LinedList"/>
    <dgm:cxn modelId="{1BF9A9ED-F409-449A-A6D3-BE801BDC21F4}" type="presParOf" srcId="{48B6F256-4B2F-4519-B935-9899DDED5570}" destId="{E0C18FCC-A4D9-4BA3-AC17-2F69027CABB7}" srcOrd="1" destOrd="0" presId="urn:microsoft.com/office/officeart/2008/layout/LinedList"/>
    <dgm:cxn modelId="{4D4DEAA6-4A86-47D1-8DBC-154963D3C6DF}" type="presParOf" srcId="{48B6F256-4B2F-4519-B935-9899DDED5570}" destId="{4C81C4A8-9DB9-4614-A3DB-2D7F6ED6E253}" srcOrd="2" destOrd="0" presId="urn:microsoft.com/office/officeart/2008/layout/LinedList"/>
    <dgm:cxn modelId="{F27E74A9-85F5-40BD-9C44-7F9E7C4A14DF}" type="presParOf" srcId="{F3201F47-C000-4D84-87FC-2DBC268AABCB}" destId="{34879362-2C1B-4017-B217-93DFF1247DDC}" srcOrd="8" destOrd="0" presId="urn:microsoft.com/office/officeart/2008/layout/LinedList"/>
    <dgm:cxn modelId="{8B0413ED-F29F-46F2-B4CE-9096E534CA8B}" type="presParOf" srcId="{F3201F47-C000-4D84-87FC-2DBC268AABCB}" destId="{89325E47-F260-4313-A936-DFCDD7310524}" srcOrd="9" destOrd="0" presId="urn:microsoft.com/office/officeart/2008/layout/LinedList"/>
    <dgm:cxn modelId="{8946725F-F5EB-4175-84D3-F1324D212DF7}" type="presParOf" srcId="{F3201F47-C000-4D84-87FC-2DBC268AABCB}" destId="{F3B5873C-B228-423C-A141-8BF88D861E4A}" srcOrd="10" destOrd="0" presId="urn:microsoft.com/office/officeart/2008/layout/LinedList"/>
    <dgm:cxn modelId="{1063F123-EB39-4DF0-8718-8A45A5FBB41F}" type="presParOf" srcId="{F3B5873C-B228-423C-A141-8BF88D861E4A}" destId="{0F28E97E-0D57-4AFC-AEDB-873875A255E7}" srcOrd="0" destOrd="0" presId="urn:microsoft.com/office/officeart/2008/layout/LinedList"/>
    <dgm:cxn modelId="{725BD369-C207-4897-9FD3-A02921FAD49A}" type="presParOf" srcId="{F3B5873C-B228-423C-A141-8BF88D861E4A}" destId="{6A54C384-2DB4-4B17-AEA3-C510C030DB73}" srcOrd="1" destOrd="0" presId="urn:microsoft.com/office/officeart/2008/layout/LinedList"/>
    <dgm:cxn modelId="{933B4989-5DE9-4DEF-AE94-98FD29A7A389}" type="presParOf" srcId="{F3B5873C-B228-423C-A141-8BF88D861E4A}" destId="{17D2AE35-5103-4495-90C1-BC986D474FCD}" srcOrd="2" destOrd="0" presId="urn:microsoft.com/office/officeart/2008/layout/LinedList"/>
    <dgm:cxn modelId="{C621AAB1-A4F5-40B1-9564-5F2F9A224C1A}" type="presParOf" srcId="{F3201F47-C000-4D84-87FC-2DBC268AABCB}" destId="{8EE7DC27-79FA-48FF-9CB3-2B628089FA3E}" srcOrd="11" destOrd="0" presId="urn:microsoft.com/office/officeart/2008/layout/LinedList"/>
    <dgm:cxn modelId="{C2FE739B-BDA9-44F3-8D4A-383C94654B0D}" type="presParOf" srcId="{F3201F47-C000-4D84-87FC-2DBC268AABCB}" destId="{6CEE76FA-D421-4648-AB9F-45DE27D048AC}" srcOrd="12"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75F92C3-C4DA-409B-ACC8-2A58760410B4}" type="doc">
      <dgm:prSet loTypeId="urn:microsoft.com/office/officeart/2005/8/layout/hList1" loCatId="list" qsTypeId="urn:microsoft.com/office/officeart/2005/8/quickstyle/simple1" qsCatId="simple" csTypeId="urn:microsoft.com/office/officeart/2005/8/colors/accent1_2" csCatId="accent1"/>
      <dgm:spPr/>
      <dgm:t>
        <a:bodyPr/>
        <a:lstStyle/>
        <a:p>
          <a:endParaRPr lang="en-US"/>
        </a:p>
      </dgm:t>
    </dgm:pt>
    <dgm:pt modelId="{C48FB549-0E63-4883-A330-DA1A75979592}">
      <dgm:prSet/>
      <dgm:spPr/>
      <dgm:t>
        <a:bodyPr/>
        <a:lstStyle/>
        <a:p>
          <a:r>
            <a:rPr lang="en-US" baseline="0"/>
            <a:t>Recommended guidance for image optimization</a:t>
          </a:r>
          <a:endParaRPr lang="en-US"/>
        </a:p>
      </dgm:t>
    </dgm:pt>
    <dgm:pt modelId="{EE6021EE-C6B1-4A95-A2B6-15E60D4121E2}" type="parTrans" cxnId="{D31315E0-DF2F-407E-9821-77ED8340A1EB}">
      <dgm:prSet/>
      <dgm:spPr/>
      <dgm:t>
        <a:bodyPr/>
        <a:lstStyle/>
        <a:p>
          <a:endParaRPr lang="en-US"/>
        </a:p>
      </dgm:t>
    </dgm:pt>
    <dgm:pt modelId="{55C3F59C-78C3-4A04-8289-96DD9BC34A13}" type="sibTrans" cxnId="{D31315E0-DF2F-407E-9821-77ED8340A1EB}">
      <dgm:prSet/>
      <dgm:spPr/>
      <dgm:t>
        <a:bodyPr/>
        <a:lstStyle/>
        <a:p>
          <a:endParaRPr lang="en-US"/>
        </a:p>
      </dgm:t>
    </dgm:pt>
    <dgm:pt modelId="{2A103322-3C26-4539-A9D0-1424E5BE9734}">
      <dgm:prSet/>
      <dgm:spPr/>
      <dgm:t>
        <a:bodyPr/>
        <a:lstStyle/>
        <a:p>
          <a:r>
            <a:rPr lang="en-US" baseline="0"/>
            <a:t>Do not embed several 10MB thumbnail images throughout the page body</a:t>
          </a:r>
          <a:endParaRPr lang="en-US"/>
        </a:p>
      </dgm:t>
    </dgm:pt>
    <dgm:pt modelId="{792B6F56-FDE9-4435-8CC2-DBC1088E8809}" type="parTrans" cxnId="{4E181E74-0DCD-47FF-94C3-9FADB6225338}">
      <dgm:prSet/>
      <dgm:spPr/>
      <dgm:t>
        <a:bodyPr/>
        <a:lstStyle/>
        <a:p>
          <a:endParaRPr lang="en-US"/>
        </a:p>
      </dgm:t>
    </dgm:pt>
    <dgm:pt modelId="{CD796172-9A9B-4255-98D6-C9D40E328C15}" type="sibTrans" cxnId="{4E181E74-0DCD-47FF-94C3-9FADB6225338}">
      <dgm:prSet/>
      <dgm:spPr/>
      <dgm:t>
        <a:bodyPr/>
        <a:lstStyle/>
        <a:p>
          <a:endParaRPr lang="en-US"/>
        </a:p>
      </dgm:t>
    </dgm:pt>
    <dgm:pt modelId="{17AFF156-4F03-4076-B029-12E731D74DBA}">
      <dgm:prSet/>
      <dgm:spPr/>
      <dgm:t>
        <a:bodyPr/>
        <a:lstStyle/>
        <a:p>
          <a:r>
            <a:rPr lang="en-US" baseline="0"/>
            <a:t>Use SharePoint image renditions (a feature available in classic publishing sites)</a:t>
          </a:r>
          <a:endParaRPr lang="en-US"/>
        </a:p>
      </dgm:t>
    </dgm:pt>
    <dgm:pt modelId="{EF557285-D09B-4405-9E3E-8E0D442CD9DC}" type="parTrans" cxnId="{432AE207-E583-44CB-AD40-3887D960EA07}">
      <dgm:prSet/>
      <dgm:spPr/>
      <dgm:t>
        <a:bodyPr/>
        <a:lstStyle/>
        <a:p>
          <a:endParaRPr lang="en-US"/>
        </a:p>
      </dgm:t>
    </dgm:pt>
    <dgm:pt modelId="{D9C92F5C-134F-4783-82E4-7AEEF26887D7}" type="sibTrans" cxnId="{432AE207-E583-44CB-AD40-3887D960EA07}">
      <dgm:prSet/>
      <dgm:spPr/>
      <dgm:t>
        <a:bodyPr/>
        <a:lstStyle/>
        <a:p>
          <a:endParaRPr lang="en-US"/>
        </a:p>
      </dgm:t>
    </dgm:pt>
    <dgm:pt modelId="{42D4BF82-56BF-4C9B-AA1C-FC90E1F63D3E}">
      <dgm:prSet/>
      <dgm:spPr/>
      <dgm:t>
        <a:bodyPr/>
        <a:lstStyle/>
        <a:p>
          <a:r>
            <a:rPr lang="en-US" baseline="0"/>
            <a:t>Allows you to serve up different versions of images based on pre-defined image dimensions.</a:t>
          </a:r>
          <a:endParaRPr lang="en-US"/>
        </a:p>
      </dgm:t>
    </dgm:pt>
    <dgm:pt modelId="{68F6BB30-D3A6-4102-9B02-D3FA12C1C30E}" type="parTrans" cxnId="{728B3C69-1BEE-47F0-B3F6-A971844071BB}">
      <dgm:prSet/>
      <dgm:spPr/>
      <dgm:t>
        <a:bodyPr/>
        <a:lstStyle/>
        <a:p>
          <a:endParaRPr lang="en-US"/>
        </a:p>
      </dgm:t>
    </dgm:pt>
    <dgm:pt modelId="{E6966876-3969-40B0-89CC-9E93AE833DB7}" type="sibTrans" cxnId="{728B3C69-1BEE-47F0-B3F6-A971844071BB}">
      <dgm:prSet/>
      <dgm:spPr/>
      <dgm:t>
        <a:bodyPr/>
        <a:lstStyle/>
        <a:p>
          <a:endParaRPr lang="en-US"/>
        </a:p>
      </dgm:t>
    </dgm:pt>
    <dgm:pt modelId="{8923F27B-73EC-4302-B786-EF3EBC5B0765}">
      <dgm:prSet/>
      <dgm:spPr/>
      <dgm:t>
        <a:bodyPr/>
        <a:lstStyle/>
        <a:p>
          <a:r>
            <a:rPr lang="en-US" baseline="0"/>
            <a:t>Using image compression and optimization to speed up page loading in SharePoint </a:t>
          </a:r>
          <a:endParaRPr lang="en-US"/>
        </a:p>
      </dgm:t>
    </dgm:pt>
    <dgm:pt modelId="{32BC4BB4-CDD3-4B75-B6EE-C101766A54B5}" type="parTrans" cxnId="{A7C4277F-4B91-4A89-BD0C-66AF20AA9C14}">
      <dgm:prSet/>
      <dgm:spPr/>
      <dgm:t>
        <a:bodyPr/>
        <a:lstStyle/>
        <a:p>
          <a:endParaRPr lang="en-US"/>
        </a:p>
      </dgm:t>
    </dgm:pt>
    <dgm:pt modelId="{D95C6A9F-EB05-4C79-9633-3CD9A1E3E90A}" type="sibTrans" cxnId="{A7C4277F-4B91-4A89-BD0C-66AF20AA9C14}">
      <dgm:prSet/>
      <dgm:spPr/>
      <dgm:t>
        <a:bodyPr/>
        <a:lstStyle/>
        <a:p>
          <a:endParaRPr lang="en-US"/>
        </a:p>
      </dgm:t>
    </dgm:pt>
    <dgm:pt modelId="{2C7C10EA-FDFD-4DA8-B649-FE4E2E233AD2}">
      <dgm:prSet/>
      <dgm:spPr/>
      <dgm:t>
        <a:bodyPr/>
        <a:lstStyle/>
        <a:p>
          <a:r>
            <a:rPr lang="en-US" baseline="0"/>
            <a:t>There are various tools available to use for compression and optimization, including Photo Gallery and third-party tools. </a:t>
          </a:r>
          <a:endParaRPr lang="en-US"/>
        </a:p>
      </dgm:t>
    </dgm:pt>
    <dgm:pt modelId="{9A76E33A-7A93-4706-B672-39A4C075672C}" type="parTrans" cxnId="{40E1D381-886E-4BD1-A9CB-76AC6FC1391B}">
      <dgm:prSet/>
      <dgm:spPr/>
      <dgm:t>
        <a:bodyPr/>
        <a:lstStyle/>
        <a:p>
          <a:endParaRPr lang="en-US"/>
        </a:p>
      </dgm:t>
    </dgm:pt>
    <dgm:pt modelId="{CD96CC7D-FB16-4F88-8F5D-C24B2379975E}" type="sibTrans" cxnId="{40E1D381-886E-4BD1-A9CB-76AC6FC1391B}">
      <dgm:prSet/>
      <dgm:spPr/>
      <dgm:t>
        <a:bodyPr/>
        <a:lstStyle/>
        <a:p>
          <a:endParaRPr lang="en-US"/>
        </a:p>
      </dgm:t>
    </dgm:pt>
    <dgm:pt modelId="{32BB9E04-5B15-40EF-9100-6A28E9F51B2A}">
      <dgm:prSet/>
      <dgm:spPr/>
      <dgm:t>
        <a:bodyPr/>
        <a:lstStyle/>
        <a:p>
          <a:r>
            <a:rPr lang="en-US" baseline="0"/>
            <a:t>Use Microsoft’s content delivery network (CDN) to host static image files</a:t>
          </a:r>
          <a:endParaRPr lang="en-US"/>
        </a:p>
      </dgm:t>
    </dgm:pt>
    <dgm:pt modelId="{E38C295E-779F-442A-883A-1002FF797E0E}" type="parTrans" cxnId="{E0C4AC70-2135-42F6-B7E9-3B18AD59D797}">
      <dgm:prSet/>
      <dgm:spPr/>
      <dgm:t>
        <a:bodyPr/>
        <a:lstStyle/>
        <a:p>
          <a:endParaRPr lang="en-US"/>
        </a:p>
      </dgm:t>
    </dgm:pt>
    <dgm:pt modelId="{19F5C0AB-3F5B-4CB5-9A09-E4E06BE026AA}" type="sibTrans" cxnId="{E0C4AC70-2135-42F6-B7E9-3B18AD59D797}">
      <dgm:prSet/>
      <dgm:spPr/>
      <dgm:t>
        <a:bodyPr/>
        <a:lstStyle/>
        <a:p>
          <a:endParaRPr lang="en-US"/>
        </a:p>
      </dgm:t>
    </dgm:pt>
    <dgm:pt modelId="{0E3E2ED8-FC46-469E-AEF4-DCEC52312BC7}" type="pres">
      <dgm:prSet presAssocID="{A75F92C3-C4DA-409B-ACC8-2A58760410B4}" presName="Name0" presStyleCnt="0">
        <dgm:presLayoutVars>
          <dgm:dir/>
          <dgm:animLvl val="lvl"/>
          <dgm:resizeHandles val="exact"/>
        </dgm:presLayoutVars>
      </dgm:prSet>
      <dgm:spPr/>
    </dgm:pt>
    <dgm:pt modelId="{EE7D7097-5E58-41EF-88A2-408812226B37}" type="pres">
      <dgm:prSet presAssocID="{C48FB549-0E63-4883-A330-DA1A75979592}" presName="composite" presStyleCnt="0"/>
      <dgm:spPr/>
    </dgm:pt>
    <dgm:pt modelId="{724CBFC7-4D4F-4087-8A49-4858062F4467}" type="pres">
      <dgm:prSet presAssocID="{C48FB549-0E63-4883-A330-DA1A75979592}" presName="parTx" presStyleLbl="alignNode1" presStyleIdx="0" presStyleCnt="1">
        <dgm:presLayoutVars>
          <dgm:chMax val="0"/>
          <dgm:chPref val="0"/>
          <dgm:bulletEnabled val="1"/>
        </dgm:presLayoutVars>
      </dgm:prSet>
      <dgm:spPr/>
    </dgm:pt>
    <dgm:pt modelId="{19939598-E84C-4021-8BF7-2160090EACA5}" type="pres">
      <dgm:prSet presAssocID="{C48FB549-0E63-4883-A330-DA1A75979592}" presName="desTx" presStyleLbl="alignAccFollowNode1" presStyleIdx="0" presStyleCnt="1">
        <dgm:presLayoutVars>
          <dgm:bulletEnabled val="1"/>
        </dgm:presLayoutVars>
      </dgm:prSet>
      <dgm:spPr/>
    </dgm:pt>
  </dgm:ptLst>
  <dgm:cxnLst>
    <dgm:cxn modelId="{432AE207-E583-44CB-AD40-3887D960EA07}" srcId="{C48FB549-0E63-4883-A330-DA1A75979592}" destId="{17AFF156-4F03-4076-B029-12E731D74DBA}" srcOrd="1" destOrd="0" parTransId="{EF557285-D09B-4405-9E3E-8E0D442CD9DC}" sibTransId="{D9C92F5C-134F-4783-82E4-7AEEF26887D7}"/>
    <dgm:cxn modelId="{3D6C3D0F-CBD8-4964-8B36-9929BC7EE6FA}" type="presOf" srcId="{2A103322-3C26-4539-A9D0-1424E5BE9734}" destId="{19939598-E84C-4021-8BF7-2160090EACA5}" srcOrd="0" destOrd="0" presId="urn:microsoft.com/office/officeart/2005/8/layout/hList1"/>
    <dgm:cxn modelId="{8A73575C-463E-4F0E-9DB8-84A5B59C14E9}" type="presOf" srcId="{8923F27B-73EC-4302-B786-EF3EBC5B0765}" destId="{19939598-E84C-4021-8BF7-2160090EACA5}" srcOrd="0" destOrd="3" presId="urn:microsoft.com/office/officeart/2005/8/layout/hList1"/>
    <dgm:cxn modelId="{728B3C69-1BEE-47F0-B3F6-A971844071BB}" srcId="{17AFF156-4F03-4076-B029-12E731D74DBA}" destId="{42D4BF82-56BF-4C9B-AA1C-FC90E1F63D3E}" srcOrd="0" destOrd="0" parTransId="{68F6BB30-D3A6-4102-9B02-D3FA12C1C30E}" sibTransId="{E6966876-3969-40B0-89CC-9E93AE833DB7}"/>
    <dgm:cxn modelId="{E0C4AC70-2135-42F6-B7E9-3B18AD59D797}" srcId="{C48FB549-0E63-4883-A330-DA1A75979592}" destId="{32BB9E04-5B15-40EF-9100-6A28E9F51B2A}" srcOrd="3" destOrd="0" parTransId="{E38C295E-779F-442A-883A-1002FF797E0E}" sibTransId="{19F5C0AB-3F5B-4CB5-9A09-E4E06BE026AA}"/>
    <dgm:cxn modelId="{4E181E74-0DCD-47FF-94C3-9FADB6225338}" srcId="{C48FB549-0E63-4883-A330-DA1A75979592}" destId="{2A103322-3C26-4539-A9D0-1424E5BE9734}" srcOrd="0" destOrd="0" parTransId="{792B6F56-FDE9-4435-8CC2-DBC1088E8809}" sibTransId="{CD796172-9A9B-4255-98D6-C9D40E328C15}"/>
    <dgm:cxn modelId="{83772F7D-6A57-4566-AB6A-9CA2F25A649A}" type="presOf" srcId="{2C7C10EA-FDFD-4DA8-B649-FE4E2E233AD2}" destId="{19939598-E84C-4021-8BF7-2160090EACA5}" srcOrd="0" destOrd="4" presId="urn:microsoft.com/office/officeart/2005/8/layout/hList1"/>
    <dgm:cxn modelId="{A7C4277F-4B91-4A89-BD0C-66AF20AA9C14}" srcId="{C48FB549-0E63-4883-A330-DA1A75979592}" destId="{8923F27B-73EC-4302-B786-EF3EBC5B0765}" srcOrd="2" destOrd="0" parTransId="{32BC4BB4-CDD3-4B75-B6EE-C101766A54B5}" sibTransId="{D95C6A9F-EB05-4C79-9633-3CD9A1E3E90A}"/>
    <dgm:cxn modelId="{40E1D381-886E-4BD1-A9CB-76AC6FC1391B}" srcId="{8923F27B-73EC-4302-B786-EF3EBC5B0765}" destId="{2C7C10EA-FDFD-4DA8-B649-FE4E2E233AD2}" srcOrd="0" destOrd="0" parTransId="{9A76E33A-7A93-4706-B672-39A4C075672C}" sibTransId="{CD96CC7D-FB16-4F88-8F5D-C24B2379975E}"/>
    <dgm:cxn modelId="{8701B385-253C-47A0-9BF2-395674FE8999}" type="presOf" srcId="{C48FB549-0E63-4883-A330-DA1A75979592}" destId="{724CBFC7-4D4F-4087-8A49-4858062F4467}" srcOrd="0" destOrd="0" presId="urn:microsoft.com/office/officeart/2005/8/layout/hList1"/>
    <dgm:cxn modelId="{0D3683A3-BD07-450B-8249-723806623007}" type="presOf" srcId="{A75F92C3-C4DA-409B-ACC8-2A58760410B4}" destId="{0E3E2ED8-FC46-469E-AEF4-DCEC52312BC7}" srcOrd="0" destOrd="0" presId="urn:microsoft.com/office/officeart/2005/8/layout/hList1"/>
    <dgm:cxn modelId="{D07842CC-8DEF-49BE-87EA-F001AB33EE3A}" type="presOf" srcId="{42D4BF82-56BF-4C9B-AA1C-FC90E1F63D3E}" destId="{19939598-E84C-4021-8BF7-2160090EACA5}" srcOrd="0" destOrd="2" presId="urn:microsoft.com/office/officeart/2005/8/layout/hList1"/>
    <dgm:cxn modelId="{D31315E0-DF2F-407E-9821-77ED8340A1EB}" srcId="{A75F92C3-C4DA-409B-ACC8-2A58760410B4}" destId="{C48FB549-0E63-4883-A330-DA1A75979592}" srcOrd="0" destOrd="0" parTransId="{EE6021EE-C6B1-4A95-A2B6-15E60D4121E2}" sibTransId="{55C3F59C-78C3-4A04-8289-96DD9BC34A13}"/>
    <dgm:cxn modelId="{B2A58EF7-5196-4E86-A3E7-E18BBB117C11}" type="presOf" srcId="{32BB9E04-5B15-40EF-9100-6A28E9F51B2A}" destId="{19939598-E84C-4021-8BF7-2160090EACA5}" srcOrd="0" destOrd="5" presId="urn:microsoft.com/office/officeart/2005/8/layout/hList1"/>
    <dgm:cxn modelId="{351FB4FF-B9DD-4C62-98F7-80E9E53CEF73}" type="presOf" srcId="{17AFF156-4F03-4076-B029-12E731D74DBA}" destId="{19939598-E84C-4021-8BF7-2160090EACA5}" srcOrd="0" destOrd="1" presId="urn:microsoft.com/office/officeart/2005/8/layout/hList1"/>
    <dgm:cxn modelId="{DEE4CFBE-F7AB-4DD4-B2B3-F6B666ED9400}" type="presParOf" srcId="{0E3E2ED8-FC46-469E-AEF4-DCEC52312BC7}" destId="{EE7D7097-5E58-41EF-88A2-408812226B37}" srcOrd="0" destOrd="0" presId="urn:microsoft.com/office/officeart/2005/8/layout/hList1"/>
    <dgm:cxn modelId="{256E783D-7B1F-4E1E-8DF4-F75F52DB1E81}" type="presParOf" srcId="{EE7D7097-5E58-41EF-88A2-408812226B37}" destId="{724CBFC7-4D4F-4087-8A49-4858062F4467}" srcOrd="0" destOrd="0" presId="urn:microsoft.com/office/officeart/2005/8/layout/hList1"/>
    <dgm:cxn modelId="{A6649501-38DC-4CC9-9273-F58DA88933DF}" type="presParOf" srcId="{EE7D7097-5E58-41EF-88A2-408812226B37}" destId="{19939598-E84C-4021-8BF7-2160090EACA5}"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1E2B88A-CE5D-464B-96C3-5C4A5C728A7B}"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D10D268C-6C2B-474E-9916-098D45D86923}">
      <dgm:prSet custT="1"/>
      <dgm:spPr/>
      <dgm:t>
        <a:bodyPr/>
        <a:lstStyle/>
        <a:p>
          <a:r>
            <a:rPr lang="en-US" sz="2800" baseline="0" dirty="0"/>
            <a:t>Site navigation recommendations: </a:t>
          </a:r>
          <a:endParaRPr lang="en-US" sz="2800" dirty="0"/>
        </a:p>
      </dgm:t>
    </dgm:pt>
    <dgm:pt modelId="{07C31C37-8DE8-43A9-BF9D-1E706369D973}" type="parTrans" cxnId="{CDF06931-5CD6-4374-8E56-AF7FC7FC01F4}">
      <dgm:prSet/>
      <dgm:spPr/>
      <dgm:t>
        <a:bodyPr/>
        <a:lstStyle/>
        <a:p>
          <a:endParaRPr lang="en-US"/>
        </a:p>
      </dgm:t>
    </dgm:pt>
    <dgm:pt modelId="{B9DC3B51-6C24-43D6-8B4C-1FEF82BCDE7C}" type="sibTrans" cxnId="{CDF06931-5CD6-4374-8E56-AF7FC7FC01F4}">
      <dgm:prSet/>
      <dgm:spPr/>
      <dgm:t>
        <a:bodyPr/>
        <a:lstStyle/>
        <a:p>
          <a:endParaRPr lang="en-US"/>
        </a:p>
      </dgm:t>
    </dgm:pt>
    <dgm:pt modelId="{921AF38B-1E09-48A0-B215-B8EE20D9535E}">
      <dgm:prSet custT="1"/>
      <dgm:spPr/>
      <dgm:t>
        <a:bodyPr/>
        <a:lstStyle/>
        <a:p>
          <a:r>
            <a:rPr lang="en-US" sz="2000" baseline="0" dirty="0"/>
            <a:t>Out-of-the-box managed navigation (MMS)</a:t>
          </a:r>
          <a:endParaRPr lang="en-US" sz="2000" dirty="0"/>
        </a:p>
      </dgm:t>
    </dgm:pt>
    <dgm:pt modelId="{427B28BD-1AF9-421D-8060-C7D4A9DB4D3D}" type="parTrans" cxnId="{625407AF-F74A-4A03-8D75-92EDB3401A72}">
      <dgm:prSet/>
      <dgm:spPr/>
      <dgm:t>
        <a:bodyPr/>
        <a:lstStyle/>
        <a:p>
          <a:endParaRPr lang="en-US"/>
        </a:p>
      </dgm:t>
    </dgm:pt>
    <dgm:pt modelId="{4235F665-DB18-4A52-AE00-B867FA2D889A}" type="sibTrans" cxnId="{625407AF-F74A-4A03-8D75-92EDB3401A72}">
      <dgm:prSet/>
      <dgm:spPr/>
      <dgm:t>
        <a:bodyPr/>
        <a:lstStyle/>
        <a:p>
          <a:endParaRPr lang="en-US"/>
        </a:p>
      </dgm:t>
    </dgm:pt>
    <dgm:pt modelId="{52AD2D1F-C9B8-4AD1-A051-F37D9B7261A3}">
      <dgm:prSet/>
      <dgm:spPr/>
      <dgm:t>
        <a:bodyPr/>
        <a:lstStyle/>
        <a:p>
          <a:r>
            <a:rPr lang="en-US" baseline="0"/>
            <a:t>Allows you to use a Managed Metadata Service (MMS) Term set to configure the navigation nodes for a given site collection</a:t>
          </a:r>
          <a:endParaRPr lang="en-US"/>
        </a:p>
      </dgm:t>
    </dgm:pt>
    <dgm:pt modelId="{42F01E69-42DA-40FE-A769-2DB2AD954604}" type="parTrans" cxnId="{4CC72E01-9F01-42BE-B82B-37874ED1EB30}">
      <dgm:prSet/>
      <dgm:spPr/>
      <dgm:t>
        <a:bodyPr/>
        <a:lstStyle/>
        <a:p>
          <a:endParaRPr lang="en-US"/>
        </a:p>
      </dgm:t>
    </dgm:pt>
    <dgm:pt modelId="{8387FA5A-C026-4E4D-81BF-EE95CAFBECED}" type="sibTrans" cxnId="{4CC72E01-9F01-42BE-B82B-37874ED1EB30}">
      <dgm:prSet/>
      <dgm:spPr/>
      <dgm:t>
        <a:bodyPr/>
        <a:lstStyle/>
        <a:p>
          <a:endParaRPr lang="en-US"/>
        </a:p>
      </dgm:t>
    </dgm:pt>
    <dgm:pt modelId="{2B20AE17-082A-4F98-82ED-016C4E18B106}">
      <dgm:prSet custT="1"/>
      <dgm:spPr/>
      <dgm:t>
        <a:bodyPr/>
        <a:lstStyle/>
        <a:p>
          <a:r>
            <a:rPr lang="en-US" sz="2000" baseline="0" dirty="0"/>
            <a:t>Out-of-the-box search index (Search) </a:t>
          </a:r>
          <a:endParaRPr lang="en-US" sz="2000" dirty="0"/>
        </a:p>
      </dgm:t>
    </dgm:pt>
    <dgm:pt modelId="{74F3F953-B9C5-4E92-9BE2-304F8DD49BF3}" type="parTrans" cxnId="{03CAEC69-0AED-4FFA-9390-DAE401FCE26E}">
      <dgm:prSet/>
      <dgm:spPr/>
      <dgm:t>
        <a:bodyPr/>
        <a:lstStyle/>
        <a:p>
          <a:endParaRPr lang="en-US"/>
        </a:p>
      </dgm:t>
    </dgm:pt>
    <dgm:pt modelId="{5D472766-1474-4230-91C9-AACD985164F7}" type="sibTrans" cxnId="{03CAEC69-0AED-4FFA-9390-DAE401FCE26E}">
      <dgm:prSet/>
      <dgm:spPr/>
      <dgm:t>
        <a:bodyPr/>
        <a:lstStyle/>
        <a:p>
          <a:endParaRPr lang="en-US"/>
        </a:p>
      </dgm:t>
    </dgm:pt>
    <dgm:pt modelId="{FFC826B0-F90A-439F-BA13-9DA4E4DF67CB}">
      <dgm:prSet/>
      <dgm:spPr/>
      <dgm:t>
        <a:bodyPr/>
        <a:lstStyle/>
        <a:p>
          <a:r>
            <a:rPr lang="en-US" baseline="0"/>
            <a:t>Allows you to query the SharePoint search index for sites and pages by constructing the proper search query. </a:t>
          </a:r>
          <a:endParaRPr lang="en-US"/>
        </a:p>
      </dgm:t>
    </dgm:pt>
    <dgm:pt modelId="{1FFDE166-E15B-4EE8-8E3B-B472FD735F5A}" type="parTrans" cxnId="{AA60DFAC-2661-43C1-9E1D-5B9A944D9B8B}">
      <dgm:prSet/>
      <dgm:spPr/>
      <dgm:t>
        <a:bodyPr/>
        <a:lstStyle/>
        <a:p>
          <a:endParaRPr lang="en-US"/>
        </a:p>
      </dgm:t>
    </dgm:pt>
    <dgm:pt modelId="{D260AA7B-741F-42F2-A1DF-9958E0CA5FD4}" type="sibTrans" cxnId="{AA60DFAC-2661-43C1-9E1D-5B9A944D9B8B}">
      <dgm:prSet/>
      <dgm:spPr/>
      <dgm:t>
        <a:bodyPr/>
        <a:lstStyle/>
        <a:p>
          <a:endParaRPr lang="en-US"/>
        </a:p>
      </dgm:t>
    </dgm:pt>
    <dgm:pt modelId="{ABC97952-1B64-4797-94DB-97658B75B0B7}">
      <dgm:prSet/>
      <dgm:spPr/>
      <dgm:t>
        <a:bodyPr/>
        <a:lstStyle/>
        <a:p>
          <a:r>
            <a:rPr lang="en-US" baseline="0"/>
            <a:t>Another advantage of this over managed navigation is that you benefit from security trimming.</a:t>
          </a:r>
          <a:endParaRPr lang="en-US"/>
        </a:p>
      </dgm:t>
    </dgm:pt>
    <dgm:pt modelId="{E738551D-CECE-4CEA-8A98-A70F333585A2}" type="parTrans" cxnId="{58697D00-3832-4763-82E1-C4F22155C3C7}">
      <dgm:prSet/>
      <dgm:spPr/>
      <dgm:t>
        <a:bodyPr/>
        <a:lstStyle/>
        <a:p>
          <a:endParaRPr lang="en-US"/>
        </a:p>
      </dgm:t>
    </dgm:pt>
    <dgm:pt modelId="{28C41392-EE7A-4AEE-840D-860E0247E2FA}" type="sibTrans" cxnId="{58697D00-3832-4763-82E1-C4F22155C3C7}">
      <dgm:prSet/>
      <dgm:spPr/>
      <dgm:t>
        <a:bodyPr/>
        <a:lstStyle/>
        <a:p>
          <a:endParaRPr lang="en-US"/>
        </a:p>
      </dgm:t>
    </dgm:pt>
    <dgm:pt modelId="{361BBF96-BD3A-4C7C-966A-32AE6F505715}">
      <dgm:prSet custT="1"/>
      <dgm:spPr/>
      <dgm:t>
        <a:bodyPr/>
        <a:lstStyle/>
        <a:p>
          <a:r>
            <a:rPr lang="en-US" sz="2000" baseline="0" dirty="0"/>
            <a:t>Custom navigation provider </a:t>
          </a:r>
          <a:endParaRPr lang="en-US" sz="2000" dirty="0"/>
        </a:p>
      </dgm:t>
    </dgm:pt>
    <dgm:pt modelId="{2144DFB4-9C22-4A3F-81A3-6DDF2AA767D0}" type="parTrans" cxnId="{C438D259-E810-4168-A489-D8EA23A4DFDD}">
      <dgm:prSet/>
      <dgm:spPr/>
      <dgm:t>
        <a:bodyPr/>
        <a:lstStyle/>
        <a:p>
          <a:endParaRPr lang="en-US"/>
        </a:p>
      </dgm:t>
    </dgm:pt>
    <dgm:pt modelId="{38DC599B-2C74-4AEB-8721-262DD8104092}" type="sibTrans" cxnId="{C438D259-E810-4168-A489-D8EA23A4DFDD}">
      <dgm:prSet/>
      <dgm:spPr/>
      <dgm:t>
        <a:bodyPr/>
        <a:lstStyle/>
        <a:p>
          <a:endParaRPr lang="en-US"/>
        </a:p>
      </dgm:t>
    </dgm:pt>
    <dgm:pt modelId="{19B5F6C9-35F6-4F78-88C9-4233D97A67EC}">
      <dgm:prSet/>
      <dgm:spPr/>
      <dgm:t>
        <a:bodyPr/>
        <a:lstStyle/>
        <a:p>
          <a:r>
            <a:rPr lang="en-US" baseline="0"/>
            <a:t>Needed when the out-of-the-box server-side navigation controls cannot be configured to meet one or more requirements of the proposed design.</a:t>
          </a:r>
          <a:endParaRPr lang="en-US"/>
        </a:p>
      </dgm:t>
    </dgm:pt>
    <dgm:pt modelId="{6B27FE4F-7626-48B5-98E4-B950DB2817D1}" type="parTrans" cxnId="{7074B733-2C1F-49CC-9267-66D769AD23AC}">
      <dgm:prSet/>
      <dgm:spPr/>
      <dgm:t>
        <a:bodyPr/>
        <a:lstStyle/>
        <a:p>
          <a:endParaRPr lang="en-US"/>
        </a:p>
      </dgm:t>
    </dgm:pt>
    <dgm:pt modelId="{402B40B5-7785-42F3-BBE8-15D871563FC2}" type="sibTrans" cxnId="{7074B733-2C1F-49CC-9267-66D769AD23AC}">
      <dgm:prSet/>
      <dgm:spPr/>
      <dgm:t>
        <a:bodyPr/>
        <a:lstStyle/>
        <a:p>
          <a:endParaRPr lang="en-US"/>
        </a:p>
      </dgm:t>
    </dgm:pt>
    <dgm:pt modelId="{7CEB148A-398F-49B0-AB27-06E469DE501C}" type="pres">
      <dgm:prSet presAssocID="{91E2B88A-CE5D-464B-96C3-5C4A5C728A7B}" presName="vert0" presStyleCnt="0">
        <dgm:presLayoutVars>
          <dgm:dir/>
          <dgm:animOne val="branch"/>
          <dgm:animLvl val="lvl"/>
        </dgm:presLayoutVars>
      </dgm:prSet>
      <dgm:spPr/>
    </dgm:pt>
    <dgm:pt modelId="{AA58CF44-3C9A-4037-A8DA-ECCB5B2E3C30}" type="pres">
      <dgm:prSet presAssocID="{D10D268C-6C2B-474E-9916-098D45D86923}" presName="thickLine" presStyleLbl="alignNode1" presStyleIdx="0" presStyleCnt="1"/>
      <dgm:spPr/>
    </dgm:pt>
    <dgm:pt modelId="{AC7BE0A2-28E8-4058-8C1B-B236105C79D5}" type="pres">
      <dgm:prSet presAssocID="{D10D268C-6C2B-474E-9916-098D45D86923}" presName="horz1" presStyleCnt="0"/>
      <dgm:spPr/>
    </dgm:pt>
    <dgm:pt modelId="{F8A28FF3-1439-49C4-B883-1DA7A3F1D2C4}" type="pres">
      <dgm:prSet presAssocID="{D10D268C-6C2B-474E-9916-098D45D86923}" presName="tx1" presStyleLbl="revTx" presStyleIdx="0" presStyleCnt="8"/>
      <dgm:spPr/>
    </dgm:pt>
    <dgm:pt modelId="{B8BE2B2F-73DB-409E-AE6C-32D252230037}" type="pres">
      <dgm:prSet presAssocID="{D10D268C-6C2B-474E-9916-098D45D86923}" presName="vert1" presStyleCnt="0"/>
      <dgm:spPr/>
    </dgm:pt>
    <dgm:pt modelId="{80131143-4A2D-4EBA-9827-C30C8F276E9B}" type="pres">
      <dgm:prSet presAssocID="{921AF38B-1E09-48A0-B215-B8EE20D9535E}" presName="vertSpace2a" presStyleCnt="0"/>
      <dgm:spPr/>
    </dgm:pt>
    <dgm:pt modelId="{9A592FB5-AE20-47D2-B07C-AF93BD8DE4AA}" type="pres">
      <dgm:prSet presAssocID="{921AF38B-1E09-48A0-B215-B8EE20D9535E}" presName="horz2" presStyleCnt="0"/>
      <dgm:spPr/>
    </dgm:pt>
    <dgm:pt modelId="{7A764570-A61F-468A-A9D1-C5ED390C18F0}" type="pres">
      <dgm:prSet presAssocID="{921AF38B-1E09-48A0-B215-B8EE20D9535E}" presName="horzSpace2" presStyleCnt="0"/>
      <dgm:spPr/>
    </dgm:pt>
    <dgm:pt modelId="{4D355BD0-A25C-4B1B-9073-039A35B8048F}" type="pres">
      <dgm:prSet presAssocID="{921AF38B-1E09-48A0-B215-B8EE20D9535E}" presName="tx2" presStyleLbl="revTx" presStyleIdx="1" presStyleCnt="8"/>
      <dgm:spPr/>
    </dgm:pt>
    <dgm:pt modelId="{1B874416-3AD3-4583-BBDB-F390182EE60B}" type="pres">
      <dgm:prSet presAssocID="{921AF38B-1E09-48A0-B215-B8EE20D9535E}" presName="vert2" presStyleCnt="0"/>
      <dgm:spPr/>
    </dgm:pt>
    <dgm:pt modelId="{7D0E54F8-D97A-44C1-BDEF-157B3118DC84}" type="pres">
      <dgm:prSet presAssocID="{52AD2D1F-C9B8-4AD1-A051-F37D9B7261A3}" presName="horz3" presStyleCnt="0"/>
      <dgm:spPr/>
    </dgm:pt>
    <dgm:pt modelId="{753542A5-B5A2-4060-B8AD-F3EA76A2F307}" type="pres">
      <dgm:prSet presAssocID="{52AD2D1F-C9B8-4AD1-A051-F37D9B7261A3}" presName="horzSpace3" presStyleCnt="0"/>
      <dgm:spPr/>
    </dgm:pt>
    <dgm:pt modelId="{7E91D532-342D-423F-A8B7-1E2BBF69D656}" type="pres">
      <dgm:prSet presAssocID="{52AD2D1F-C9B8-4AD1-A051-F37D9B7261A3}" presName="tx3" presStyleLbl="revTx" presStyleIdx="2" presStyleCnt="8"/>
      <dgm:spPr/>
    </dgm:pt>
    <dgm:pt modelId="{3D080B1A-694F-4C96-8135-C82D57F9AADB}" type="pres">
      <dgm:prSet presAssocID="{52AD2D1F-C9B8-4AD1-A051-F37D9B7261A3}" presName="vert3" presStyleCnt="0"/>
      <dgm:spPr/>
    </dgm:pt>
    <dgm:pt modelId="{9D6967A7-BF45-43A9-9230-ECD349AFCD29}" type="pres">
      <dgm:prSet presAssocID="{921AF38B-1E09-48A0-B215-B8EE20D9535E}" presName="thinLine2b" presStyleLbl="callout" presStyleIdx="0" presStyleCnt="4"/>
      <dgm:spPr/>
    </dgm:pt>
    <dgm:pt modelId="{D5FAA2ED-763D-4F52-81D4-1E998410BB9D}" type="pres">
      <dgm:prSet presAssocID="{921AF38B-1E09-48A0-B215-B8EE20D9535E}" presName="vertSpace2b" presStyleCnt="0"/>
      <dgm:spPr/>
    </dgm:pt>
    <dgm:pt modelId="{33569BF4-B574-461F-8C61-B4BA567897FF}" type="pres">
      <dgm:prSet presAssocID="{2B20AE17-082A-4F98-82ED-016C4E18B106}" presName="horz2" presStyleCnt="0"/>
      <dgm:spPr/>
    </dgm:pt>
    <dgm:pt modelId="{932A1150-B0EA-4F9A-A510-32897BD9E891}" type="pres">
      <dgm:prSet presAssocID="{2B20AE17-082A-4F98-82ED-016C4E18B106}" presName="horzSpace2" presStyleCnt="0"/>
      <dgm:spPr/>
    </dgm:pt>
    <dgm:pt modelId="{366A34B1-022C-4759-BF55-E283FDBAC85B}" type="pres">
      <dgm:prSet presAssocID="{2B20AE17-082A-4F98-82ED-016C4E18B106}" presName="tx2" presStyleLbl="revTx" presStyleIdx="3" presStyleCnt="8"/>
      <dgm:spPr/>
    </dgm:pt>
    <dgm:pt modelId="{95CD036B-868C-42EC-A56A-C6B14F9A6038}" type="pres">
      <dgm:prSet presAssocID="{2B20AE17-082A-4F98-82ED-016C4E18B106}" presName="vert2" presStyleCnt="0"/>
      <dgm:spPr/>
    </dgm:pt>
    <dgm:pt modelId="{8F7D53DB-D27B-4AF4-9102-9E47521E6164}" type="pres">
      <dgm:prSet presAssocID="{FFC826B0-F90A-439F-BA13-9DA4E4DF67CB}" presName="horz3" presStyleCnt="0"/>
      <dgm:spPr/>
    </dgm:pt>
    <dgm:pt modelId="{E5A46414-6D44-403A-9FFC-774EB02BB5D1}" type="pres">
      <dgm:prSet presAssocID="{FFC826B0-F90A-439F-BA13-9DA4E4DF67CB}" presName="horzSpace3" presStyleCnt="0"/>
      <dgm:spPr/>
    </dgm:pt>
    <dgm:pt modelId="{52B7A9FF-F8B4-44E6-B70A-A555997A9AF7}" type="pres">
      <dgm:prSet presAssocID="{FFC826B0-F90A-439F-BA13-9DA4E4DF67CB}" presName="tx3" presStyleLbl="revTx" presStyleIdx="4" presStyleCnt="8"/>
      <dgm:spPr/>
    </dgm:pt>
    <dgm:pt modelId="{12B98C99-C029-4EFC-8B1F-3B2363A0C11A}" type="pres">
      <dgm:prSet presAssocID="{FFC826B0-F90A-439F-BA13-9DA4E4DF67CB}" presName="vert3" presStyleCnt="0"/>
      <dgm:spPr/>
    </dgm:pt>
    <dgm:pt modelId="{6D0DFF5B-DED2-46DB-AFCD-B5BF1688F352}" type="pres">
      <dgm:prSet presAssocID="{D260AA7B-741F-42F2-A1DF-9958E0CA5FD4}" presName="thinLine3" presStyleLbl="callout" presStyleIdx="1" presStyleCnt="4"/>
      <dgm:spPr/>
    </dgm:pt>
    <dgm:pt modelId="{909EDF12-E2D8-4825-B0DE-11D94CDA55D5}" type="pres">
      <dgm:prSet presAssocID="{ABC97952-1B64-4797-94DB-97658B75B0B7}" presName="horz3" presStyleCnt="0"/>
      <dgm:spPr/>
    </dgm:pt>
    <dgm:pt modelId="{10AF010A-6897-411F-B887-FEDADA484E46}" type="pres">
      <dgm:prSet presAssocID="{ABC97952-1B64-4797-94DB-97658B75B0B7}" presName="horzSpace3" presStyleCnt="0"/>
      <dgm:spPr/>
    </dgm:pt>
    <dgm:pt modelId="{CC98D74C-E091-474C-B4EB-D86C86198919}" type="pres">
      <dgm:prSet presAssocID="{ABC97952-1B64-4797-94DB-97658B75B0B7}" presName="tx3" presStyleLbl="revTx" presStyleIdx="5" presStyleCnt="8"/>
      <dgm:spPr/>
    </dgm:pt>
    <dgm:pt modelId="{E7B1626B-4B3C-4747-8E67-316A93C9262A}" type="pres">
      <dgm:prSet presAssocID="{ABC97952-1B64-4797-94DB-97658B75B0B7}" presName="vert3" presStyleCnt="0"/>
      <dgm:spPr/>
    </dgm:pt>
    <dgm:pt modelId="{6FFFBD74-D817-4605-83B3-D1323E702A2B}" type="pres">
      <dgm:prSet presAssocID="{2B20AE17-082A-4F98-82ED-016C4E18B106}" presName="thinLine2b" presStyleLbl="callout" presStyleIdx="2" presStyleCnt="4"/>
      <dgm:spPr/>
    </dgm:pt>
    <dgm:pt modelId="{CA25E12B-B9EC-4875-B5D5-9302713E59FD}" type="pres">
      <dgm:prSet presAssocID="{2B20AE17-082A-4F98-82ED-016C4E18B106}" presName="vertSpace2b" presStyleCnt="0"/>
      <dgm:spPr/>
    </dgm:pt>
    <dgm:pt modelId="{F23CF52A-5AC9-42F2-B2FD-3F75622F89D1}" type="pres">
      <dgm:prSet presAssocID="{361BBF96-BD3A-4C7C-966A-32AE6F505715}" presName="horz2" presStyleCnt="0"/>
      <dgm:spPr/>
    </dgm:pt>
    <dgm:pt modelId="{E603D69F-86D0-4FAC-9D6A-4C9E29748385}" type="pres">
      <dgm:prSet presAssocID="{361BBF96-BD3A-4C7C-966A-32AE6F505715}" presName="horzSpace2" presStyleCnt="0"/>
      <dgm:spPr/>
    </dgm:pt>
    <dgm:pt modelId="{27672FF7-7D32-40FA-8923-34EC9A0FD589}" type="pres">
      <dgm:prSet presAssocID="{361BBF96-BD3A-4C7C-966A-32AE6F505715}" presName="tx2" presStyleLbl="revTx" presStyleIdx="6" presStyleCnt="8"/>
      <dgm:spPr/>
    </dgm:pt>
    <dgm:pt modelId="{16975696-C579-48F6-B7E3-F18E4337C275}" type="pres">
      <dgm:prSet presAssocID="{361BBF96-BD3A-4C7C-966A-32AE6F505715}" presName="vert2" presStyleCnt="0"/>
      <dgm:spPr/>
    </dgm:pt>
    <dgm:pt modelId="{A7244C71-EA8E-4CDC-A558-47170E93305A}" type="pres">
      <dgm:prSet presAssocID="{19B5F6C9-35F6-4F78-88C9-4233D97A67EC}" presName="horz3" presStyleCnt="0"/>
      <dgm:spPr/>
    </dgm:pt>
    <dgm:pt modelId="{6CD4FC98-1121-4686-9AE8-63E3E7DBB0A5}" type="pres">
      <dgm:prSet presAssocID="{19B5F6C9-35F6-4F78-88C9-4233D97A67EC}" presName="horzSpace3" presStyleCnt="0"/>
      <dgm:spPr/>
    </dgm:pt>
    <dgm:pt modelId="{7DA344D0-94DF-4D1C-A13E-AD0F9AA5443B}" type="pres">
      <dgm:prSet presAssocID="{19B5F6C9-35F6-4F78-88C9-4233D97A67EC}" presName="tx3" presStyleLbl="revTx" presStyleIdx="7" presStyleCnt="8"/>
      <dgm:spPr/>
    </dgm:pt>
    <dgm:pt modelId="{D152F7A9-AB3E-477D-90B3-44CF3066F9F0}" type="pres">
      <dgm:prSet presAssocID="{19B5F6C9-35F6-4F78-88C9-4233D97A67EC}" presName="vert3" presStyleCnt="0"/>
      <dgm:spPr/>
    </dgm:pt>
    <dgm:pt modelId="{8D19A46B-F483-4E5A-BDEC-FB72D870B2FC}" type="pres">
      <dgm:prSet presAssocID="{361BBF96-BD3A-4C7C-966A-32AE6F505715}" presName="thinLine2b" presStyleLbl="callout" presStyleIdx="3" presStyleCnt="4"/>
      <dgm:spPr/>
    </dgm:pt>
    <dgm:pt modelId="{A65D11C3-190C-4817-B0C6-A671E254503D}" type="pres">
      <dgm:prSet presAssocID="{361BBF96-BD3A-4C7C-966A-32AE6F505715}" presName="vertSpace2b" presStyleCnt="0"/>
      <dgm:spPr/>
    </dgm:pt>
  </dgm:ptLst>
  <dgm:cxnLst>
    <dgm:cxn modelId="{58697D00-3832-4763-82E1-C4F22155C3C7}" srcId="{2B20AE17-082A-4F98-82ED-016C4E18B106}" destId="{ABC97952-1B64-4797-94DB-97658B75B0B7}" srcOrd="1" destOrd="0" parTransId="{E738551D-CECE-4CEA-8A98-A70F333585A2}" sibTransId="{28C41392-EE7A-4AEE-840D-860E0247E2FA}"/>
    <dgm:cxn modelId="{4CC72E01-9F01-42BE-B82B-37874ED1EB30}" srcId="{921AF38B-1E09-48A0-B215-B8EE20D9535E}" destId="{52AD2D1F-C9B8-4AD1-A051-F37D9B7261A3}" srcOrd="0" destOrd="0" parTransId="{42F01E69-42DA-40FE-A769-2DB2AD954604}" sibTransId="{8387FA5A-C026-4E4D-81BF-EE95CAFBECED}"/>
    <dgm:cxn modelId="{7CBCBC30-568C-4823-A5F9-7D37DBF4891E}" type="presOf" srcId="{52AD2D1F-C9B8-4AD1-A051-F37D9B7261A3}" destId="{7E91D532-342D-423F-A8B7-1E2BBF69D656}" srcOrd="0" destOrd="0" presId="urn:microsoft.com/office/officeart/2008/layout/LinedList"/>
    <dgm:cxn modelId="{CDF06931-5CD6-4374-8E56-AF7FC7FC01F4}" srcId="{91E2B88A-CE5D-464B-96C3-5C4A5C728A7B}" destId="{D10D268C-6C2B-474E-9916-098D45D86923}" srcOrd="0" destOrd="0" parTransId="{07C31C37-8DE8-43A9-BF9D-1E706369D973}" sibTransId="{B9DC3B51-6C24-43D6-8B4C-1FEF82BCDE7C}"/>
    <dgm:cxn modelId="{77D79533-8F5C-413D-9954-1DD21E7DEC27}" type="presOf" srcId="{921AF38B-1E09-48A0-B215-B8EE20D9535E}" destId="{4D355BD0-A25C-4B1B-9073-039A35B8048F}" srcOrd="0" destOrd="0" presId="urn:microsoft.com/office/officeart/2008/layout/LinedList"/>
    <dgm:cxn modelId="{7074B733-2C1F-49CC-9267-66D769AD23AC}" srcId="{361BBF96-BD3A-4C7C-966A-32AE6F505715}" destId="{19B5F6C9-35F6-4F78-88C9-4233D97A67EC}" srcOrd="0" destOrd="0" parTransId="{6B27FE4F-7626-48B5-98E4-B950DB2817D1}" sibTransId="{402B40B5-7785-42F3-BBE8-15D871563FC2}"/>
    <dgm:cxn modelId="{03CAEC69-0AED-4FFA-9390-DAE401FCE26E}" srcId="{D10D268C-6C2B-474E-9916-098D45D86923}" destId="{2B20AE17-082A-4F98-82ED-016C4E18B106}" srcOrd="1" destOrd="0" parTransId="{74F3F953-B9C5-4E92-9BE2-304F8DD49BF3}" sibTransId="{5D472766-1474-4230-91C9-AACD985164F7}"/>
    <dgm:cxn modelId="{99669D57-6763-403C-81C7-2EF66BE287DB}" type="presOf" srcId="{19B5F6C9-35F6-4F78-88C9-4233D97A67EC}" destId="{7DA344D0-94DF-4D1C-A13E-AD0F9AA5443B}" srcOrd="0" destOrd="0" presId="urn:microsoft.com/office/officeart/2008/layout/LinedList"/>
    <dgm:cxn modelId="{C438D259-E810-4168-A489-D8EA23A4DFDD}" srcId="{D10D268C-6C2B-474E-9916-098D45D86923}" destId="{361BBF96-BD3A-4C7C-966A-32AE6F505715}" srcOrd="2" destOrd="0" parTransId="{2144DFB4-9C22-4A3F-81A3-6DDF2AA767D0}" sibTransId="{38DC599B-2C74-4AEB-8721-262DD8104092}"/>
    <dgm:cxn modelId="{4E3CFF7D-D9EB-46C2-9FC6-747310BB302B}" type="presOf" srcId="{D10D268C-6C2B-474E-9916-098D45D86923}" destId="{F8A28FF3-1439-49C4-B883-1DA7A3F1D2C4}" srcOrd="0" destOrd="0" presId="urn:microsoft.com/office/officeart/2008/layout/LinedList"/>
    <dgm:cxn modelId="{D852B88D-1002-497F-9DFD-EDA1E847F8B0}" type="presOf" srcId="{2B20AE17-082A-4F98-82ED-016C4E18B106}" destId="{366A34B1-022C-4759-BF55-E283FDBAC85B}" srcOrd="0" destOrd="0" presId="urn:microsoft.com/office/officeart/2008/layout/LinedList"/>
    <dgm:cxn modelId="{B03F5096-B6C8-46A6-ACF6-9B9BBF080552}" type="presOf" srcId="{ABC97952-1B64-4797-94DB-97658B75B0B7}" destId="{CC98D74C-E091-474C-B4EB-D86C86198919}" srcOrd="0" destOrd="0" presId="urn:microsoft.com/office/officeart/2008/layout/LinedList"/>
    <dgm:cxn modelId="{AA60DFAC-2661-43C1-9E1D-5B9A944D9B8B}" srcId="{2B20AE17-082A-4F98-82ED-016C4E18B106}" destId="{FFC826B0-F90A-439F-BA13-9DA4E4DF67CB}" srcOrd="0" destOrd="0" parTransId="{1FFDE166-E15B-4EE8-8E3B-B472FD735F5A}" sibTransId="{D260AA7B-741F-42F2-A1DF-9958E0CA5FD4}"/>
    <dgm:cxn modelId="{625407AF-F74A-4A03-8D75-92EDB3401A72}" srcId="{D10D268C-6C2B-474E-9916-098D45D86923}" destId="{921AF38B-1E09-48A0-B215-B8EE20D9535E}" srcOrd="0" destOrd="0" parTransId="{427B28BD-1AF9-421D-8060-C7D4A9DB4D3D}" sibTransId="{4235F665-DB18-4A52-AE00-B867FA2D889A}"/>
    <dgm:cxn modelId="{E280AAB7-3182-4BD4-8605-23945CAB96B9}" type="presOf" srcId="{361BBF96-BD3A-4C7C-966A-32AE6F505715}" destId="{27672FF7-7D32-40FA-8923-34EC9A0FD589}" srcOrd="0" destOrd="0" presId="urn:microsoft.com/office/officeart/2008/layout/LinedList"/>
    <dgm:cxn modelId="{B27797BA-728E-446C-9D23-AFB08A585CAA}" type="presOf" srcId="{FFC826B0-F90A-439F-BA13-9DA4E4DF67CB}" destId="{52B7A9FF-F8B4-44E6-B70A-A555997A9AF7}" srcOrd="0" destOrd="0" presId="urn:microsoft.com/office/officeart/2008/layout/LinedList"/>
    <dgm:cxn modelId="{0F841CF6-F091-49F1-B2E6-10E3ED2CECFC}" type="presOf" srcId="{91E2B88A-CE5D-464B-96C3-5C4A5C728A7B}" destId="{7CEB148A-398F-49B0-AB27-06E469DE501C}" srcOrd="0" destOrd="0" presId="urn:microsoft.com/office/officeart/2008/layout/LinedList"/>
    <dgm:cxn modelId="{EEED10AD-760E-44F0-B6A1-AB74B621C50F}" type="presParOf" srcId="{7CEB148A-398F-49B0-AB27-06E469DE501C}" destId="{AA58CF44-3C9A-4037-A8DA-ECCB5B2E3C30}" srcOrd="0" destOrd="0" presId="urn:microsoft.com/office/officeart/2008/layout/LinedList"/>
    <dgm:cxn modelId="{7FE32F4C-3C60-4B9A-8A30-B6D1A52424FC}" type="presParOf" srcId="{7CEB148A-398F-49B0-AB27-06E469DE501C}" destId="{AC7BE0A2-28E8-4058-8C1B-B236105C79D5}" srcOrd="1" destOrd="0" presId="urn:microsoft.com/office/officeart/2008/layout/LinedList"/>
    <dgm:cxn modelId="{BF9AC5BB-AA82-4D65-A1BE-6107D5CB1D15}" type="presParOf" srcId="{AC7BE0A2-28E8-4058-8C1B-B236105C79D5}" destId="{F8A28FF3-1439-49C4-B883-1DA7A3F1D2C4}" srcOrd="0" destOrd="0" presId="urn:microsoft.com/office/officeart/2008/layout/LinedList"/>
    <dgm:cxn modelId="{3066653D-8C2C-496B-92C3-9E9C875F9C28}" type="presParOf" srcId="{AC7BE0A2-28E8-4058-8C1B-B236105C79D5}" destId="{B8BE2B2F-73DB-409E-AE6C-32D252230037}" srcOrd="1" destOrd="0" presId="urn:microsoft.com/office/officeart/2008/layout/LinedList"/>
    <dgm:cxn modelId="{E3387F1E-92C4-44B1-8973-897C29D0B46E}" type="presParOf" srcId="{B8BE2B2F-73DB-409E-AE6C-32D252230037}" destId="{80131143-4A2D-4EBA-9827-C30C8F276E9B}" srcOrd="0" destOrd="0" presId="urn:microsoft.com/office/officeart/2008/layout/LinedList"/>
    <dgm:cxn modelId="{B80AD5B5-AFC8-4414-8C79-E605E353590F}" type="presParOf" srcId="{B8BE2B2F-73DB-409E-AE6C-32D252230037}" destId="{9A592FB5-AE20-47D2-B07C-AF93BD8DE4AA}" srcOrd="1" destOrd="0" presId="urn:microsoft.com/office/officeart/2008/layout/LinedList"/>
    <dgm:cxn modelId="{285CE52B-EB16-4347-B7E8-151626A2709D}" type="presParOf" srcId="{9A592FB5-AE20-47D2-B07C-AF93BD8DE4AA}" destId="{7A764570-A61F-468A-A9D1-C5ED390C18F0}" srcOrd="0" destOrd="0" presId="urn:microsoft.com/office/officeart/2008/layout/LinedList"/>
    <dgm:cxn modelId="{B7EF6936-F47A-4101-84D4-D1423CA96687}" type="presParOf" srcId="{9A592FB5-AE20-47D2-B07C-AF93BD8DE4AA}" destId="{4D355BD0-A25C-4B1B-9073-039A35B8048F}" srcOrd="1" destOrd="0" presId="urn:microsoft.com/office/officeart/2008/layout/LinedList"/>
    <dgm:cxn modelId="{2D4B1EBD-719F-4C67-9DE2-486D3C2CF469}" type="presParOf" srcId="{9A592FB5-AE20-47D2-B07C-AF93BD8DE4AA}" destId="{1B874416-3AD3-4583-BBDB-F390182EE60B}" srcOrd="2" destOrd="0" presId="urn:microsoft.com/office/officeart/2008/layout/LinedList"/>
    <dgm:cxn modelId="{32E0FE67-0579-4DA6-AA13-B5993347977D}" type="presParOf" srcId="{1B874416-3AD3-4583-BBDB-F390182EE60B}" destId="{7D0E54F8-D97A-44C1-BDEF-157B3118DC84}" srcOrd="0" destOrd="0" presId="urn:microsoft.com/office/officeart/2008/layout/LinedList"/>
    <dgm:cxn modelId="{CA67F503-F0C1-4BCF-BE1C-71086512A742}" type="presParOf" srcId="{7D0E54F8-D97A-44C1-BDEF-157B3118DC84}" destId="{753542A5-B5A2-4060-B8AD-F3EA76A2F307}" srcOrd="0" destOrd="0" presId="urn:microsoft.com/office/officeart/2008/layout/LinedList"/>
    <dgm:cxn modelId="{BFC2EEA8-DA86-4B98-A776-826316DCCCE8}" type="presParOf" srcId="{7D0E54F8-D97A-44C1-BDEF-157B3118DC84}" destId="{7E91D532-342D-423F-A8B7-1E2BBF69D656}" srcOrd="1" destOrd="0" presId="urn:microsoft.com/office/officeart/2008/layout/LinedList"/>
    <dgm:cxn modelId="{CFD538F0-347C-49B1-AE0C-5D0501A5DDC9}" type="presParOf" srcId="{7D0E54F8-D97A-44C1-BDEF-157B3118DC84}" destId="{3D080B1A-694F-4C96-8135-C82D57F9AADB}" srcOrd="2" destOrd="0" presId="urn:microsoft.com/office/officeart/2008/layout/LinedList"/>
    <dgm:cxn modelId="{C406FED9-563E-490E-86DB-3178D0E79F4C}" type="presParOf" srcId="{B8BE2B2F-73DB-409E-AE6C-32D252230037}" destId="{9D6967A7-BF45-43A9-9230-ECD349AFCD29}" srcOrd="2" destOrd="0" presId="urn:microsoft.com/office/officeart/2008/layout/LinedList"/>
    <dgm:cxn modelId="{27335759-0C4B-4DCD-B1B0-C77701682EDE}" type="presParOf" srcId="{B8BE2B2F-73DB-409E-AE6C-32D252230037}" destId="{D5FAA2ED-763D-4F52-81D4-1E998410BB9D}" srcOrd="3" destOrd="0" presId="urn:microsoft.com/office/officeart/2008/layout/LinedList"/>
    <dgm:cxn modelId="{B0F75260-28A6-4BAD-A7B9-5FE4A6D9F090}" type="presParOf" srcId="{B8BE2B2F-73DB-409E-AE6C-32D252230037}" destId="{33569BF4-B574-461F-8C61-B4BA567897FF}" srcOrd="4" destOrd="0" presId="urn:microsoft.com/office/officeart/2008/layout/LinedList"/>
    <dgm:cxn modelId="{5C2967EA-538E-44EC-9F59-08B4421B4160}" type="presParOf" srcId="{33569BF4-B574-461F-8C61-B4BA567897FF}" destId="{932A1150-B0EA-4F9A-A510-32897BD9E891}" srcOrd="0" destOrd="0" presId="urn:microsoft.com/office/officeart/2008/layout/LinedList"/>
    <dgm:cxn modelId="{14C6A456-C209-460E-A142-C37C6C1654D6}" type="presParOf" srcId="{33569BF4-B574-461F-8C61-B4BA567897FF}" destId="{366A34B1-022C-4759-BF55-E283FDBAC85B}" srcOrd="1" destOrd="0" presId="urn:microsoft.com/office/officeart/2008/layout/LinedList"/>
    <dgm:cxn modelId="{DE0909F5-E817-4950-982C-81709A61B53F}" type="presParOf" srcId="{33569BF4-B574-461F-8C61-B4BA567897FF}" destId="{95CD036B-868C-42EC-A56A-C6B14F9A6038}" srcOrd="2" destOrd="0" presId="urn:microsoft.com/office/officeart/2008/layout/LinedList"/>
    <dgm:cxn modelId="{A7FC4972-E5EB-4E66-92D3-7E78CFE85D7D}" type="presParOf" srcId="{95CD036B-868C-42EC-A56A-C6B14F9A6038}" destId="{8F7D53DB-D27B-4AF4-9102-9E47521E6164}" srcOrd="0" destOrd="0" presId="urn:microsoft.com/office/officeart/2008/layout/LinedList"/>
    <dgm:cxn modelId="{1229D3EF-9A0C-48BD-89B7-DD8CFFCE5C41}" type="presParOf" srcId="{8F7D53DB-D27B-4AF4-9102-9E47521E6164}" destId="{E5A46414-6D44-403A-9FFC-774EB02BB5D1}" srcOrd="0" destOrd="0" presId="urn:microsoft.com/office/officeart/2008/layout/LinedList"/>
    <dgm:cxn modelId="{7F4FAAB0-1273-45EF-844A-01D3676F3C99}" type="presParOf" srcId="{8F7D53DB-D27B-4AF4-9102-9E47521E6164}" destId="{52B7A9FF-F8B4-44E6-B70A-A555997A9AF7}" srcOrd="1" destOrd="0" presId="urn:microsoft.com/office/officeart/2008/layout/LinedList"/>
    <dgm:cxn modelId="{B728DDA1-46BD-4D23-8A89-CA31E55E64D5}" type="presParOf" srcId="{8F7D53DB-D27B-4AF4-9102-9E47521E6164}" destId="{12B98C99-C029-4EFC-8B1F-3B2363A0C11A}" srcOrd="2" destOrd="0" presId="urn:microsoft.com/office/officeart/2008/layout/LinedList"/>
    <dgm:cxn modelId="{22C94F91-CFAB-448B-AC6D-1C458C105BCC}" type="presParOf" srcId="{95CD036B-868C-42EC-A56A-C6B14F9A6038}" destId="{6D0DFF5B-DED2-46DB-AFCD-B5BF1688F352}" srcOrd="1" destOrd="0" presId="urn:microsoft.com/office/officeart/2008/layout/LinedList"/>
    <dgm:cxn modelId="{581320E7-E93E-4010-875B-0A7D7D6CC970}" type="presParOf" srcId="{95CD036B-868C-42EC-A56A-C6B14F9A6038}" destId="{909EDF12-E2D8-4825-B0DE-11D94CDA55D5}" srcOrd="2" destOrd="0" presId="urn:microsoft.com/office/officeart/2008/layout/LinedList"/>
    <dgm:cxn modelId="{50A08A51-550A-4C90-B8B4-D2526D5FBFFA}" type="presParOf" srcId="{909EDF12-E2D8-4825-B0DE-11D94CDA55D5}" destId="{10AF010A-6897-411F-B887-FEDADA484E46}" srcOrd="0" destOrd="0" presId="urn:microsoft.com/office/officeart/2008/layout/LinedList"/>
    <dgm:cxn modelId="{8F5C6394-D3B8-4662-8ED1-9CBD9DF43F90}" type="presParOf" srcId="{909EDF12-E2D8-4825-B0DE-11D94CDA55D5}" destId="{CC98D74C-E091-474C-B4EB-D86C86198919}" srcOrd="1" destOrd="0" presId="urn:microsoft.com/office/officeart/2008/layout/LinedList"/>
    <dgm:cxn modelId="{A754B0FE-9F94-4A44-9729-A4169DCEB403}" type="presParOf" srcId="{909EDF12-E2D8-4825-B0DE-11D94CDA55D5}" destId="{E7B1626B-4B3C-4747-8E67-316A93C9262A}" srcOrd="2" destOrd="0" presId="urn:microsoft.com/office/officeart/2008/layout/LinedList"/>
    <dgm:cxn modelId="{EA8E23B1-431E-411B-B888-09E7A26A6230}" type="presParOf" srcId="{B8BE2B2F-73DB-409E-AE6C-32D252230037}" destId="{6FFFBD74-D817-4605-83B3-D1323E702A2B}" srcOrd="5" destOrd="0" presId="urn:microsoft.com/office/officeart/2008/layout/LinedList"/>
    <dgm:cxn modelId="{09E763C1-C349-48A9-9004-07F7A99A5CE7}" type="presParOf" srcId="{B8BE2B2F-73DB-409E-AE6C-32D252230037}" destId="{CA25E12B-B9EC-4875-B5D5-9302713E59FD}" srcOrd="6" destOrd="0" presId="urn:microsoft.com/office/officeart/2008/layout/LinedList"/>
    <dgm:cxn modelId="{9FFD7764-7A90-46BA-8C3A-15C67F87DA61}" type="presParOf" srcId="{B8BE2B2F-73DB-409E-AE6C-32D252230037}" destId="{F23CF52A-5AC9-42F2-B2FD-3F75622F89D1}" srcOrd="7" destOrd="0" presId="urn:microsoft.com/office/officeart/2008/layout/LinedList"/>
    <dgm:cxn modelId="{41A28E04-4CE0-47F1-BF9A-98E27DB087F2}" type="presParOf" srcId="{F23CF52A-5AC9-42F2-B2FD-3F75622F89D1}" destId="{E603D69F-86D0-4FAC-9D6A-4C9E29748385}" srcOrd="0" destOrd="0" presId="urn:microsoft.com/office/officeart/2008/layout/LinedList"/>
    <dgm:cxn modelId="{E3B63072-8E84-4BBC-9477-D4CE3E468320}" type="presParOf" srcId="{F23CF52A-5AC9-42F2-B2FD-3F75622F89D1}" destId="{27672FF7-7D32-40FA-8923-34EC9A0FD589}" srcOrd="1" destOrd="0" presId="urn:microsoft.com/office/officeart/2008/layout/LinedList"/>
    <dgm:cxn modelId="{86035883-2663-4EE8-976C-D9C462E15F05}" type="presParOf" srcId="{F23CF52A-5AC9-42F2-B2FD-3F75622F89D1}" destId="{16975696-C579-48F6-B7E3-F18E4337C275}" srcOrd="2" destOrd="0" presId="urn:microsoft.com/office/officeart/2008/layout/LinedList"/>
    <dgm:cxn modelId="{20A6ACEF-AB60-4FBB-8ECD-E59C126D1A06}" type="presParOf" srcId="{16975696-C579-48F6-B7E3-F18E4337C275}" destId="{A7244C71-EA8E-4CDC-A558-47170E93305A}" srcOrd="0" destOrd="0" presId="urn:microsoft.com/office/officeart/2008/layout/LinedList"/>
    <dgm:cxn modelId="{B96D42E1-FE3E-432B-8C69-8798AD011798}" type="presParOf" srcId="{A7244C71-EA8E-4CDC-A558-47170E93305A}" destId="{6CD4FC98-1121-4686-9AE8-63E3E7DBB0A5}" srcOrd="0" destOrd="0" presId="urn:microsoft.com/office/officeart/2008/layout/LinedList"/>
    <dgm:cxn modelId="{3192266F-B63A-4065-8D97-12A4BA244F62}" type="presParOf" srcId="{A7244C71-EA8E-4CDC-A558-47170E93305A}" destId="{7DA344D0-94DF-4D1C-A13E-AD0F9AA5443B}" srcOrd="1" destOrd="0" presId="urn:microsoft.com/office/officeart/2008/layout/LinedList"/>
    <dgm:cxn modelId="{87BEA0FB-473E-4C06-AEA9-0BA26FBEF246}" type="presParOf" srcId="{A7244C71-EA8E-4CDC-A558-47170E93305A}" destId="{D152F7A9-AB3E-477D-90B3-44CF3066F9F0}" srcOrd="2" destOrd="0" presId="urn:microsoft.com/office/officeart/2008/layout/LinedList"/>
    <dgm:cxn modelId="{0DFFD97C-CF19-476B-8146-1FC2E3AD4C20}" type="presParOf" srcId="{B8BE2B2F-73DB-409E-AE6C-32D252230037}" destId="{8D19A46B-F483-4E5A-BDEC-FB72D870B2FC}" srcOrd="8" destOrd="0" presId="urn:microsoft.com/office/officeart/2008/layout/LinedList"/>
    <dgm:cxn modelId="{F82FCFBE-B087-43F2-9927-F936E84FCE89}" type="presParOf" srcId="{B8BE2B2F-73DB-409E-AE6C-32D252230037}" destId="{A65D11C3-190C-4817-B0C6-A671E254503D}" srcOrd="9"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971BEE3-AC77-40C2-A883-0F71163F3FE8}"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88DDC2FE-6CAB-4F20-ABA4-5347439C905E}">
      <dgm:prSet custT="1"/>
      <dgm:spPr/>
      <dgm:t>
        <a:bodyPr/>
        <a:lstStyle/>
        <a:p>
          <a:pPr>
            <a:lnSpc>
              <a:spcPct val="100000"/>
            </a:lnSpc>
          </a:pPr>
          <a:r>
            <a:rPr lang="en-US" sz="1600" dirty="0"/>
            <a:t>Prefer modern SharePoint pages and sites</a:t>
          </a:r>
        </a:p>
      </dgm:t>
    </dgm:pt>
    <dgm:pt modelId="{506F4514-2DC0-49C1-9E30-161B5A66E849}" type="parTrans" cxnId="{4697C338-6A4A-47C8-82CB-9BB0FE34A544}">
      <dgm:prSet/>
      <dgm:spPr/>
      <dgm:t>
        <a:bodyPr/>
        <a:lstStyle/>
        <a:p>
          <a:endParaRPr lang="en-US"/>
        </a:p>
      </dgm:t>
    </dgm:pt>
    <dgm:pt modelId="{F17071A0-69CA-49F5-90D2-7B902A6A4B69}" type="sibTrans" cxnId="{4697C338-6A4A-47C8-82CB-9BB0FE34A544}">
      <dgm:prSet/>
      <dgm:spPr/>
      <dgm:t>
        <a:bodyPr/>
        <a:lstStyle/>
        <a:p>
          <a:endParaRPr lang="en-US"/>
        </a:p>
      </dgm:t>
    </dgm:pt>
    <dgm:pt modelId="{186245E0-45AA-4D73-A04F-33952600B094}">
      <dgm:prSet custT="1"/>
      <dgm:spPr/>
      <dgm:t>
        <a:bodyPr/>
        <a:lstStyle/>
        <a:p>
          <a:pPr>
            <a:lnSpc>
              <a:spcPct val="100000"/>
            </a:lnSpc>
          </a:pPr>
          <a:r>
            <a:rPr lang="en-US" sz="1200" dirty="0"/>
            <a:t>Modern SharePoint pages and sites are under continuous monitoring and investment for reliability, scalability, and performance.</a:t>
          </a:r>
        </a:p>
      </dgm:t>
    </dgm:pt>
    <dgm:pt modelId="{7BEA3A9A-09DF-4B7B-BE57-8ACB06F8E43B}" type="parTrans" cxnId="{1DAAC89A-4C51-4227-82D1-A87A36552AB5}">
      <dgm:prSet/>
      <dgm:spPr/>
      <dgm:t>
        <a:bodyPr/>
        <a:lstStyle/>
        <a:p>
          <a:endParaRPr lang="en-US"/>
        </a:p>
      </dgm:t>
    </dgm:pt>
    <dgm:pt modelId="{A7827101-3128-4196-BE57-320B375ED3E8}" type="sibTrans" cxnId="{1DAAC89A-4C51-4227-82D1-A87A36552AB5}">
      <dgm:prSet/>
      <dgm:spPr/>
      <dgm:t>
        <a:bodyPr/>
        <a:lstStyle/>
        <a:p>
          <a:endParaRPr lang="en-US"/>
        </a:p>
      </dgm:t>
    </dgm:pt>
    <dgm:pt modelId="{66B01599-9273-49E5-96DB-FA31C4AC7B10}">
      <dgm:prSet custT="1"/>
      <dgm:spPr/>
      <dgm:t>
        <a:bodyPr/>
        <a:lstStyle/>
        <a:p>
          <a:pPr>
            <a:lnSpc>
              <a:spcPct val="100000"/>
            </a:lnSpc>
          </a:pPr>
          <a:r>
            <a:rPr lang="en-US" sz="1200" dirty="0"/>
            <a:t>Classic SharePoint Publishing sites have limited investment for reliability and scalability only.</a:t>
          </a:r>
        </a:p>
      </dgm:t>
    </dgm:pt>
    <dgm:pt modelId="{0D109D5A-FEE4-4D65-8924-7DAFFD42D4DD}" type="parTrans" cxnId="{F80F31D1-2F7C-49F1-841A-9CC6E8C324B6}">
      <dgm:prSet/>
      <dgm:spPr/>
      <dgm:t>
        <a:bodyPr/>
        <a:lstStyle/>
        <a:p>
          <a:endParaRPr lang="en-US"/>
        </a:p>
      </dgm:t>
    </dgm:pt>
    <dgm:pt modelId="{7CA87FD6-210F-48A5-A1A2-62059A97216C}" type="sibTrans" cxnId="{F80F31D1-2F7C-49F1-841A-9CC6E8C324B6}">
      <dgm:prSet/>
      <dgm:spPr/>
      <dgm:t>
        <a:bodyPr/>
        <a:lstStyle/>
        <a:p>
          <a:endParaRPr lang="en-US"/>
        </a:p>
      </dgm:t>
    </dgm:pt>
    <dgm:pt modelId="{4804AB7D-3C49-4A53-9451-A3A9093D3456}">
      <dgm:prSet custT="1"/>
      <dgm:spPr/>
      <dgm:t>
        <a:bodyPr/>
        <a:lstStyle/>
        <a:p>
          <a:pPr>
            <a:lnSpc>
              <a:spcPct val="100000"/>
            </a:lnSpc>
          </a:pPr>
          <a:r>
            <a:rPr lang="en-US" sz="1600" dirty="0"/>
            <a:t>Measure Page weight and requests </a:t>
          </a:r>
        </a:p>
      </dgm:t>
    </dgm:pt>
    <dgm:pt modelId="{8A94016D-25DF-4A63-B87D-CF308B6890BA}" type="parTrans" cxnId="{3FB85B3A-72C4-4E31-9AE4-DE87B29604B8}">
      <dgm:prSet/>
      <dgm:spPr/>
      <dgm:t>
        <a:bodyPr/>
        <a:lstStyle/>
        <a:p>
          <a:endParaRPr lang="en-US"/>
        </a:p>
      </dgm:t>
    </dgm:pt>
    <dgm:pt modelId="{05F3DFAE-1493-4D8E-90B4-193894F0D6FC}" type="sibTrans" cxnId="{3FB85B3A-72C4-4E31-9AE4-DE87B29604B8}">
      <dgm:prSet/>
      <dgm:spPr/>
      <dgm:t>
        <a:bodyPr/>
        <a:lstStyle/>
        <a:p>
          <a:endParaRPr lang="en-US"/>
        </a:p>
      </dgm:t>
    </dgm:pt>
    <dgm:pt modelId="{D8E4C4CB-9F61-49AE-8AA4-EA3130FE86ED}">
      <dgm:prSet custT="1"/>
      <dgm:spPr/>
      <dgm:t>
        <a:bodyPr/>
        <a:lstStyle/>
        <a:p>
          <a:pPr>
            <a:lnSpc>
              <a:spcPct val="100000"/>
            </a:lnSpc>
          </a:pPr>
          <a:r>
            <a:rPr lang="en-US" sz="1200" dirty="0"/>
            <a:t>Resize images, compress scripts, and remove unnecessary dependencies.</a:t>
          </a:r>
        </a:p>
      </dgm:t>
    </dgm:pt>
    <dgm:pt modelId="{E58BB342-87FC-4AA6-8BC1-3EF1E583D402}" type="parTrans" cxnId="{874D34B3-1803-4B0F-B031-057501AC44E9}">
      <dgm:prSet/>
      <dgm:spPr/>
      <dgm:t>
        <a:bodyPr/>
        <a:lstStyle/>
        <a:p>
          <a:endParaRPr lang="en-US"/>
        </a:p>
      </dgm:t>
    </dgm:pt>
    <dgm:pt modelId="{4E519F5B-EE7D-4676-82DC-69F35D0C6FB9}" type="sibTrans" cxnId="{874D34B3-1803-4B0F-B031-057501AC44E9}">
      <dgm:prSet/>
      <dgm:spPr/>
      <dgm:t>
        <a:bodyPr/>
        <a:lstStyle/>
        <a:p>
          <a:endParaRPr lang="en-US"/>
        </a:p>
      </dgm:t>
    </dgm:pt>
    <dgm:pt modelId="{5A84C6F9-D02C-4148-BB76-3EB3C8B5A457}">
      <dgm:prSet custT="1"/>
      <dgm:spPr/>
      <dgm:t>
        <a:bodyPr/>
        <a:lstStyle/>
        <a:p>
          <a:pPr>
            <a:lnSpc>
              <a:spcPct val="100000"/>
            </a:lnSpc>
          </a:pPr>
          <a:r>
            <a:rPr lang="en-US" sz="1200" dirty="0"/>
            <a:t>Pages that require multiple server roundtrips are often as slow as the slowest requests. Responding to server requests ties up browser from rendering</a:t>
          </a:r>
        </a:p>
      </dgm:t>
    </dgm:pt>
    <dgm:pt modelId="{06461CCB-613F-4632-B0D5-F7FA6077E11B}" type="parTrans" cxnId="{B3FE6CF4-F1CA-46C4-A66B-7450FEFA96E8}">
      <dgm:prSet/>
      <dgm:spPr/>
      <dgm:t>
        <a:bodyPr/>
        <a:lstStyle/>
        <a:p>
          <a:endParaRPr lang="en-US"/>
        </a:p>
      </dgm:t>
    </dgm:pt>
    <dgm:pt modelId="{9DDC44B6-E7F4-4558-9FB1-9711F7027201}" type="sibTrans" cxnId="{B3FE6CF4-F1CA-46C4-A66B-7450FEFA96E8}">
      <dgm:prSet/>
      <dgm:spPr/>
      <dgm:t>
        <a:bodyPr/>
        <a:lstStyle/>
        <a:p>
          <a:endParaRPr lang="en-US"/>
        </a:p>
      </dgm:t>
    </dgm:pt>
    <dgm:pt modelId="{9DB880EC-6A74-49F5-B0C0-1AAB1C8261B0}">
      <dgm:prSet custT="1"/>
      <dgm:spPr/>
      <dgm:t>
        <a:bodyPr/>
        <a:lstStyle/>
        <a:p>
          <a:pPr>
            <a:lnSpc>
              <a:spcPct val="100000"/>
            </a:lnSpc>
          </a:pPr>
          <a:r>
            <a:rPr lang="en-US" sz="1600" dirty="0"/>
            <a:t>Site Navigation recommendations</a:t>
          </a:r>
        </a:p>
      </dgm:t>
    </dgm:pt>
    <dgm:pt modelId="{ED0BBA36-F7B2-4E59-8094-7EE6A6574B03}" type="parTrans" cxnId="{7C820304-76F0-463A-A618-D4A6858B7B10}">
      <dgm:prSet/>
      <dgm:spPr/>
      <dgm:t>
        <a:bodyPr/>
        <a:lstStyle/>
        <a:p>
          <a:endParaRPr lang="en-US"/>
        </a:p>
      </dgm:t>
    </dgm:pt>
    <dgm:pt modelId="{10D59C59-D4AF-4DAF-BC2F-7D364FEA8309}" type="sibTrans" cxnId="{7C820304-76F0-463A-A618-D4A6858B7B10}">
      <dgm:prSet/>
      <dgm:spPr/>
      <dgm:t>
        <a:bodyPr/>
        <a:lstStyle/>
        <a:p>
          <a:endParaRPr lang="en-US"/>
        </a:p>
      </dgm:t>
    </dgm:pt>
    <dgm:pt modelId="{CC71F96E-E764-4E58-9B6F-3AC845120216}">
      <dgm:prSet custT="1"/>
      <dgm:spPr/>
      <dgm:t>
        <a:bodyPr/>
        <a:lstStyle/>
        <a:p>
          <a:pPr>
            <a:lnSpc>
              <a:spcPct val="100000"/>
            </a:lnSpc>
          </a:pPr>
          <a:r>
            <a:rPr lang="en-US" sz="1200" dirty="0"/>
            <a:t>Reduce time-to-market and take advantage of product team insight into cloud optimized architectures for delivering rich functionality.</a:t>
          </a:r>
        </a:p>
      </dgm:t>
    </dgm:pt>
    <dgm:pt modelId="{A44F4E69-D0A6-4A88-A28C-389DFC923BDF}" type="parTrans" cxnId="{643CA351-91ED-4735-AB19-5F5BBC8794C0}">
      <dgm:prSet/>
      <dgm:spPr/>
      <dgm:t>
        <a:bodyPr/>
        <a:lstStyle/>
        <a:p>
          <a:endParaRPr lang="en-US"/>
        </a:p>
      </dgm:t>
    </dgm:pt>
    <dgm:pt modelId="{F63B12AF-AA63-40D8-91B1-A43456423012}" type="sibTrans" cxnId="{643CA351-91ED-4735-AB19-5F5BBC8794C0}">
      <dgm:prSet/>
      <dgm:spPr/>
      <dgm:t>
        <a:bodyPr/>
        <a:lstStyle/>
        <a:p>
          <a:endParaRPr lang="en-US"/>
        </a:p>
      </dgm:t>
    </dgm:pt>
    <dgm:pt modelId="{99FE34DB-0980-409E-BD27-A322F1BBB5E3}">
      <dgm:prSet custT="1"/>
      <dgm:spPr/>
      <dgm:t>
        <a:bodyPr/>
        <a:lstStyle/>
        <a:p>
          <a:pPr>
            <a:lnSpc>
              <a:spcPct val="100000"/>
            </a:lnSpc>
          </a:pPr>
          <a:r>
            <a:rPr lang="en-US" sz="1200"/>
            <a:t>Note: Certain classic SharePoint Publishing features are no longer recommended in the cloud.</a:t>
          </a:r>
        </a:p>
      </dgm:t>
    </dgm:pt>
    <dgm:pt modelId="{29112901-1B13-47AE-B407-CF67C51B9028}" type="parTrans" cxnId="{FAB9D55A-0EDC-4814-AB7D-BD7D836B72F1}">
      <dgm:prSet/>
      <dgm:spPr/>
      <dgm:t>
        <a:bodyPr/>
        <a:lstStyle/>
        <a:p>
          <a:endParaRPr lang="en-US"/>
        </a:p>
      </dgm:t>
    </dgm:pt>
    <dgm:pt modelId="{10906C90-6B6B-457C-AE6E-01FF851485C4}" type="sibTrans" cxnId="{FAB9D55A-0EDC-4814-AB7D-BD7D836B72F1}">
      <dgm:prSet/>
      <dgm:spPr/>
      <dgm:t>
        <a:bodyPr/>
        <a:lstStyle/>
        <a:p>
          <a:endParaRPr lang="en-US"/>
        </a:p>
      </dgm:t>
    </dgm:pt>
    <dgm:pt modelId="{C2BFA4DF-D8CD-4B09-8802-033E56F0151F}">
      <dgm:prSet custT="1"/>
      <dgm:spPr/>
      <dgm:t>
        <a:bodyPr/>
        <a:lstStyle/>
        <a:p>
          <a:pPr>
            <a:lnSpc>
              <a:spcPct val="100000"/>
            </a:lnSpc>
          </a:pPr>
          <a:r>
            <a:rPr lang="en-US" sz="1600" dirty="0"/>
            <a:t>Use CDNs</a:t>
          </a:r>
        </a:p>
      </dgm:t>
    </dgm:pt>
    <dgm:pt modelId="{AE7F4D5A-D230-4BF5-9DF3-757BC9A0A33C}" type="parTrans" cxnId="{2246A5A6-9C22-400E-89FC-ADE7B7834E25}">
      <dgm:prSet/>
      <dgm:spPr/>
      <dgm:t>
        <a:bodyPr/>
        <a:lstStyle/>
        <a:p>
          <a:endParaRPr lang="en-US"/>
        </a:p>
      </dgm:t>
    </dgm:pt>
    <dgm:pt modelId="{F141DAF2-094E-4765-94FB-E837A6187318}" type="sibTrans" cxnId="{2246A5A6-9C22-400E-89FC-ADE7B7834E25}">
      <dgm:prSet/>
      <dgm:spPr/>
      <dgm:t>
        <a:bodyPr/>
        <a:lstStyle/>
        <a:p>
          <a:endParaRPr lang="en-US"/>
        </a:p>
      </dgm:t>
    </dgm:pt>
    <dgm:pt modelId="{871DA503-829E-4D9E-BB5D-03F0D52AC9EF}">
      <dgm:prSet custT="1"/>
      <dgm:spPr/>
      <dgm:t>
        <a:bodyPr/>
        <a:lstStyle/>
        <a:p>
          <a:pPr>
            <a:lnSpc>
              <a:spcPct val="100000"/>
            </a:lnSpc>
          </a:pPr>
          <a:r>
            <a:rPr lang="en-US" sz="1200" dirty="0"/>
            <a:t>Microsoft 365 CDNs offer the ability to use SPO CDNs for FREE! Streamlines downloads by storing content close to users</a:t>
          </a:r>
        </a:p>
      </dgm:t>
    </dgm:pt>
    <dgm:pt modelId="{53F562A4-DE67-4C8D-8FAD-6097616BC1C1}" type="parTrans" cxnId="{3E000A88-3985-4191-B710-CF81124D4378}">
      <dgm:prSet/>
      <dgm:spPr/>
      <dgm:t>
        <a:bodyPr/>
        <a:lstStyle/>
        <a:p>
          <a:endParaRPr lang="en-US"/>
        </a:p>
      </dgm:t>
    </dgm:pt>
    <dgm:pt modelId="{F68EBDCE-ED55-4431-9BBB-F3311FE1F40B}" type="sibTrans" cxnId="{3E000A88-3985-4191-B710-CF81124D4378}">
      <dgm:prSet/>
      <dgm:spPr/>
      <dgm:t>
        <a:bodyPr/>
        <a:lstStyle/>
        <a:p>
          <a:endParaRPr lang="en-US"/>
        </a:p>
      </dgm:t>
    </dgm:pt>
    <dgm:pt modelId="{C9AD451F-86FA-4EA7-9D49-98D1CBC2E0B8}" type="pres">
      <dgm:prSet presAssocID="{9971BEE3-AC77-40C2-A883-0F71163F3FE8}" presName="root" presStyleCnt="0">
        <dgm:presLayoutVars>
          <dgm:dir/>
          <dgm:resizeHandles val="exact"/>
        </dgm:presLayoutVars>
      </dgm:prSet>
      <dgm:spPr/>
    </dgm:pt>
    <dgm:pt modelId="{5A40672B-636D-41E7-A87E-CFD7070EFDD3}" type="pres">
      <dgm:prSet presAssocID="{88DDC2FE-6CAB-4F20-ABA4-5347439C905E}" presName="compNode" presStyleCnt="0"/>
      <dgm:spPr/>
    </dgm:pt>
    <dgm:pt modelId="{D0D3689F-7A62-4B56-AE82-CBC77B224287}" type="pres">
      <dgm:prSet presAssocID="{88DDC2FE-6CAB-4F20-ABA4-5347439C905E}" presName="bgRect" presStyleLbl="bgShp" presStyleIdx="0" presStyleCnt="4"/>
      <dgm:spPr/>
    </dgm:pt>
    <dgm:pt modelId="{BE073D61-8D46-41B6-B5CD-57123F4A1C6C}" type="pres">
      <dgm:prSet presAssocID="{88DDC2FE-6CAB-4F20-ABA4-5347439C905E}"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t="4321" b="4321"/>
          </a:stretch>
        </a:blipFill>
        <a:ln>
          <a:noFill/>
        </a:ln>
      </dgm:spPr>
      <dgm:extLst>
        <a:ext uri="{E40237B7-FDA0-4F09-8148-C483321AD2D9}">
          <dgm14:cNvPr xmlns:dgm14="http://schemas.microsoft.com/office/drawing/2010/diagram" id="0" name="" descr="clock_8"/>
        </a:ext>
      </dgm:extLst>
    </dgm:pt>
    <dgm:pt modelId="{89717304-C382-45F0-BF5D-551009A71449}" type="pres">
      <dgm:prSet presAssocID="{88DDC2FE-6CAB-4F20-ABA4-5347439C905E}" presName="spaceRect" presStyleCnt="0"/>
      <dgm:spPr/>
    </dgm:pt>
    <dgm:pt modelId="{8920CC86-B3BD-4A1E-B08E-784E33D50FB8}" type="pres">
      <dgm:prSet presAssocID="{88DDC2FE-6CAB-4F20-ABA4-5347439C905E}" presName="parTx" presStyleLbl="revTx" presStyleIdx="0" presStyleCnt="8" custScaleX="72833">
        <dgm:presLayoutVars>
          <dgm:chMax val="0"/>
          <dgm:chPref val="0"/>
        </dgm:presLayoutVars>
      </dgm:prSet>
      <dgm:spPr/>
    </dgm:pt>
    <dgm:pt modelId="{8498C856-C141-4CC0-BCB2-905095958D2A}" type="pres">
      <dgm:prSet presAssocID="{88DDC2FE-6CAB-4F20-ABA4-5347439C905E}" presName="desTx" presStyleLbl="revTx" presStyleIdx="1" presStyleCnt="8" custScaleX="121621">
        <dgm:presLayoutVars/>
      </dgm:prSet>
      <dgm:spPr/>
    </dgm:pt>
    <dgm:pt modelId="{1FBBED60-EF33-4A6E-9E35-D77DE8AD07B2}" type="pres">
      <dgm:prSet presAssocID="{F17071A0-69CA-49F5-90D2-7B902A6A4B69}" presName="sibTrans" presStyleCnt="0"/>
      <dgm:spPr/>
    </dgm:pt>
    <dgm:pt modelId="{6348CEE5-FD12-4B9E-8C0C-ADF29C4C44B2}" type="pres">
      <dgm:prSet presAssocID="{4804AB7D-3C49-4A53-9451-A3A9093D3456}" presName="compNode" presStyleCnt="0"/>
      <dgm:spPr/>
    </dgm:pt>
    <dgm:pt modelId="{EFF85BC6-2CC0-4258-8FE1-4C5C9E0C8083}" type="pres">
      <dgm:prSet presAssocID="{4804AB7D-3C49-4A53-9451-A3A9093D3456}" presName="bgRect" presStyleLbl="bgShp" presStyleIdx="1" presStyleCnt="4"/>
      <dgm:spPr/>
    </dgm:pt>
    <dgm:pt modelId="{91A2890B-5FE5-4AA7-BAD5-A76CF821FCB6}" type="pres">
      <dgm:prSet presAssocID="{4804AB7D-3C49-4A53-9451-A3A9093D3456}"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l="8791" r="8791"/>
          </a:stretch>
        </a:blipFill>
        <a:ln>
          <a:noFill/>
        </a:ln>
      </dgm:spPr>
      <dgm:extLst>
        <a:ext uri="{E40237B7-FDA0-4F09-8148-C483321AD2D9}">
          <dgm14:cNvPr xmlns:dgm14="http://schemas.microsoft.com/office/drawing/2010/diagram" id="0" name="" descr="transform"/>
        </a:ext>
      </dgm:extLst>
    </dgm:pt>
    <dgm:pt modelId="{FA939E62-7EA9-4A3A-804E-C46452768896}" type="pres">
      <dgm:prSet presAssocID="{4804AB7D-3C49-4A53-9451-A3A9093D3456}" presName="spaceRect" presStyleCnt="0"/>
      <dgm:spPr/>
    </dgm:pt>
    <dgm:pt modelId="{31B11243-AAD5-42D2-9722-ED914FC2D2AD}" type="pres">
      <dgm:prSet presAssocID="{4804AB7D-3C49-4A53-9451-A3A9093D3456}" presName="parTx" presStyleLbl="revTx" presStyleIdx="2" presStyleCnt="8" custScaleX="72833">
        <dgm:presLayoutVars>
          <dgm:chMax val="0"/>
          <dgm:chPref val="0"/>
        </dgm:presLayoutVars>
      </dgm:prSet>
      <dgm:spPr/>
    </dgm:pt>
    <dgm:pt modelId="{030370BE-3BED-414E-AC4B-F4622D15CB08}" type="pres">
      <dgm:prSet presAssocID="{4804AB7D-3C49-4A53-9451-A3A9093D3456}" presName="desTx" presStyleLbl="revTx" presStyleIdx="3" presStyleCnt="8" custScaleX="121677">
        <dgm:presLayoutVars/>
      </dgm:prSet>
      <dgm:spPr/>
    </dgm:pt>
    <dgm:pt modelId="{BCC23592-41D4-4DEE-A8A3-F7C70478EA14}" type="pres">
      <dgm:prSet presAssocID="{05F3DFAE-1493-4D8E-90B4-193894F0D6FC}" presName="sibTrans" presStyleCnt="0"/>
      <dgm:spPr/>
    </dgm:pt>
    <dgm:pt modelId="{AFC410BA-20D4-44C7-BD1B-A591129AAFF6}" type="pres">
      <dgm:prSet presAssocID="{9DB880EC-6A74-49F5-B0C0-1AAB1C8261B0}" presName="compNode" presStyleCnt="0"/>
      <dgm:spPr/>
    </dgm:pt>
    <dgm:pt modelId="{D893CDCD-C9B5-420F-8D1C-810AE4BEBAEB}" type="pres">
      <dgm:prSet presAssocID="{9DB880EC-6A74-49F5-B0C0-1AAB1C8261B0}" presName="bgRect" presStyleLbl="bgShp" presStyleIdx="2" presStyleCnt="4"/>
      <dgm:spPr/>
    </dgm:pt>
    <dgm:pt modelId="{223B316C-E0D5-4165-9B07-D38AAA0160AB}" type="pres">
      <dgm:prSet presAssocID="{9DB880EC-6A74-49F5-B0C0-1AAB1C8261B0}"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l="3646" r="3646"/>
          </a:stretch>
        </a:blipFill>
        <a:ln>
          <a:noFill/>
        </a:ln>
      </dgm:spPr>
      <dgm:extLst>
        <a:ext uri="{E40237B7-FDA0-4F09-8148-C483321AD2D9}">
          <dgm14:cNvPr xmlns:dgm14="http://schemas.microsoft.com/office/drawing/2010/diagram" id="0" name="" descr="Map_E707"/>
        </a:ext>
      </dgm:extLst>
    </dgm:pt>
    <dgm:pt modelId="{46426F1D-2D93-4E46-8F51-FD55C0F93EF3}" type="pres">
      <dgm:prSet presAssocID="{9DB880EC-6A74-49F5-B0C0-1AAB1C8261B0}" presName="spaceRect" presStyleCnt="0"/>
      <dgm:spPr/>
    </dgm:pt>
    <dgm:pt modelId="{65E66104-0360-4F6A-B0B9-F4C3C4CACC93}" type="pres">
      <dgm:prSet presAssocID="{9DB880EC-6A74-49F5-B0C0-1AAB1C8261B0}" presName="parTx" presStyleLbl="revTx" presStyleIdx="4" presStyleCnt="8" custScaleX="72833">
        <dgm:presLayoutVars>
          <dgm:chMax val="0"/>
          <dgm:chPref val="0"/>
        </dgm:presLayoutVars>
      </dgm:prSet>
      <dgm:spPr/>
    </dgm:pt>
    <dgm:pt modelId="{4ADE37EB-78C8-4320-8AF4-2C8142E5D908}" type="pres">
      <dgm:prSet presAssocID="{9DB880EC-6A74-49F5-B0C0-1AAB1C8261B0}" presName="desTx" presStyleLbl="revTx" presStyleIdx="5" presStyleCnt="8" custScaleX="121677">
        <dgm:presLayoutVars/>
      </dgm:prSet>
      <dgm:spPr/>
    </dgm:pt>
    <dgm:pt modelId="{65610EE9-DA63-4719-924C-69F0EEC08D30}" type="pres">
      <dgm:prSet presAssocID="{10D59C59-D4AF-4DAF-BC2F-7D364FEA8309}" presName="sibTrans" presStyleCnt="0"/>
      <dgm:spPr/>
    </dgm:pt>
    <dgm:pt modelId="{7F7CB634-7A8A-47EB-8899-1CF9EADC4070}" type="pres">
      <dgm:prSet presAssocID="{C2BFA4DF-D8CD-4B09-8802-033E56F0151F}" presName="compNode" presStyleCnt="0"/>
      <dgm:spPr/>
    </dgm:pt>
    <dgm:pt modelId="{E00D36D0-BBF0-4844-834F-2800F1E1AEC1}" type="pres">
      <dgm:prSet presAssocID="{C2BFA4DF-D8CD-4B09-8802-033E56F0151F}" presName="bgRect" presStyleLbl="bgShp" presStyleIdx="3" presStyleCnt="4"/>
      <dgm:spPr/>
    </dgm:pt>
    <dgm:pt modelId="{F58E9F49-77D8-4139-8C63-25BF8DB1D104}" type="pres">
      <dgm:prSet presAssocID="{C2BFA4DF-D8CD-4B09-8802-033E56F0151F}"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l="7471" r="7471"/>
          </a:stretch>
        </a:blipFill>
        <a:ln>
          <a:noFill/>
        </a:ln>
      </dgm:spPr>
      <dgm:extLst>
        <a:ext uri="{E40237B7-FDA0-4F09-8148-C483321AD2D9}">
          <dgm14:cNvPr xmlns:dgm14="http://schemas.microsoft.com/office/drawing/2010/diagram" id="0" name="" descr="file"/>
        </a:ext>
      </dgm:extLst>
    </dgm:pt>
    <dgm:pt modelId="{8E234F5F-79AB-4696-A29D-5E1DF65AD91E}" type="pres">
      <dgm:prSet presAssocID="{C2BFA4DF-D8CD-4B09-8802-033E56F0151F}" presName="spaceRect" presStyleCnt="0"/>
      <dgm:spPr/>
    </dgm:pt>
    <dgm:pt modelId="{DA5C2ADF-1CBF-4F6F-B1EE-DE99159285D2}" type="pres">
      <dgm:prSet presAssocID="{C2BFA4DF-D8CD-4B09-8802-033E56F0151F}" presName="parTx" presStyleLbl="revTx" presStyleIdx="6" presStyleCnt="8" custScaleX="72833">
        <dgm:presLayoutVars>
          <dgm:chMax val="0"/>
          <dgm:chPref val="0"/>
        </dgm:presLayoutVars>
      </dgm:prSet>
      <dgm:spPr/>
    </dgm:pt>
    <dgm:pt modelId="{306A893A-4B08-49C7-8A72-F44D990C8842}" type="pres">
      <dgm:prSet presAssocID="{C2BFA4DF-D8CD-4B09-8802-033E56F0151F}" presName="desTx" presStyleLbl="revTx" presStyleIdx="7" presStyleCnt="8" custScaleX="121677">
        <dgm:presLayoutVars/>
      </dgm:prSet>
      <dgm:spPr/>
    </dgm:pt>
  </dgm:ptLst>
  <dgm:cxnLst>
    <dgm:cxn modelId="{511FCB01-17CB-45E6-BC52-40DDB4357BB7}" type="presOf" srcId="{5A84C6F9-D02C-4148-BB76-3EB3C8B5A457}" destId="{030370BE-3BED-414E-AC4B-F4622D15CB08}" srcOrd="0" destOrd="1" presId="urn:microsoft.com/office/officeart/2018/2/layout/IconVerticalSolidList"/>
    <dgm:cxn modelId="{7C820304-76F0-463A-A618-D4A6858B7B10}" srcId="{9971BEE3-AC77-40C2-A883-0F71163F3FE8}" destId="{9DB880EC-6A74-49F5-B0C0-1AAB1C8261B0}" srcOrd="2" destOrd="0" parTransId="{ED0BBA36-F7B2-4E59-8094-7EE6A6574B03}" sibTransId="{10D59C59-D4AF-4DAF-BC2F-7D364FEA8309}"/>
    <dgm:cxn modelId="{2355820D-4565-4C3A-ACE6-0F5B92C9E5B4}" type="presOf" srcId="{99FE34DB-0980-409E-BD27-A322F1BBB5E3}" destId="{4ADE37EB-78C8-4320-8AF4-2C8142E5D908}" srcOrd="0" destOrd="1" presId="urn:microsoft.com/office/officeart/2018/2/layout/IconVerticalSolidList"/>
    <dgm:cxn modelId="{430E9811-9435-4D42-A824-5D327A8C7F84}" type="presOf" srcId="{9971BEE3-AC77-40C2-A883-0F71163F3FE8}" destId="{C9AD451F-86FA-4EA7-9D49-98D1CBC2E0B8}" srcOrd="0" destOrd="0" presId="urn:microsoft.com/office/officeart/2018/2/layout/IconVerticalSolidList"/>
    <dgm:cxn modelId="{4EDDC22C-889B-4AD2-B6F1-C4196F476952}" type="presOf" srcId="{871DA503-829E-4D9E-BB5D-03F0D52AC9EF}" destId="{306A893A-4B08-49C7-8A72-F44D990C8842}" srcOrd="0" destOrd="0" presId="urn:microsoft.com/office/officeart/2018/2/layout/IconVerticalSolidList"/>
    <dgm:cxn modelId="{4697C338-6A4A-47C8-82CB-9BB0FE34A544}" srcId="{9971BEE3-AC77-40C2-A883-0F71163F3FE8}" destId="{88DDC2FE-6CAB-4F20-ABA4-5347439C905E}" srcOrd="0" destOrd="0" parTransId="{506F4514-2DC0-49C1-9E30-161B5A66E849}" sibTransId="{F17071A0-69CA-49F5-90D2-7B902A6A4B69}"/>
    <dgm:cxn modelId="{3FB85B3A-72C4-4E31-9AE4-DE87B29604B8}" srcId="{9971BEE3-AC77-40C2-A883-0F71163F3FE8}" destId="{4804AB7D-3C49-4A53-9451-A3A9093D3456}" srcOrd="1" destOrd="0" parTransId="{8A94016D-25DF-4A63-B87D-CF308B6890BA}" sibTransId="{05F3DFAE-1493-4D8E-90B4-193894F0D6FC}"/>
    <dgm:cxn modelId="{9F88E23C-F737-461B-AD59-C61D8193882A}" type="presOf" srcId="{C2BFA4DF-D8CD-4B09-8802-033E56F0151F}" destId="{DA5C2ADF-1CBF-4F6F-B1EE-DE99159285D2}" srcOrd="0" destOrd="0" presId="urn:microsoft.com/office/officeart/2018/2/layout/IconVerticalSolidList"/>
    <dgm:cxn modelId="{AC4EA962-E6A9-4A85-9AB2-10521B13E59D}" type="presOf" srcId="{88DDC2FE-6CAB-4F20-ABA4-5347439C905E}" destId="{8920CC86-B3BD-4A1E-B08E-784E33D50FB8}" srcOrd="0" destOrd="0" presId="urn:microsoft.com/office/officeart/2018/2/layout/IconVerticalSolidList"/>
    <dgm:cxn modelId="{E2FA4F6C-693D-4ABC-A124-C9410A61599B}" type="presOf" srcId="{CC71F96E-E764-4E58-9B6F-3AC845120216}" destId="{4ADE37EB-78C8-4320-8AF4-2C8142E5D908}" srcOrd="0" destOrd="0" presId="urn:microsoft.com/office/officeart/2018/2/layout/IconVerticalSolidList"/>
    <dgm:cxn modelId="{95922150-F3D3-4B1F-8122-4BE375421C8B}" type="presOf" srcId="{66B01599-9273-49E5-96DB-FA31C4AC7B10}" destId="{8498C856-C141-4CC0-BCB2-905095958D2A}" srcOrd="0" destOrd="1" presId="urn:microsoft.com/office/officeart/2018/2/layout/IconVerticalSolidList"/>
    <dgm:cxn modelId="{643CA351-91ED-4735-AB19-5F5BBC8794C0}" srcId="{9DB880EC-6A74-49F5-B0C0-1AAB1C8261B0}" destId="{CC71F96E-E764-4E58-9B6F-3AC845120216}" srcOrd="0" destOrd="0" parTransId="{A44F4E69-D0A6-4A88-A28C-389DFC923BDF}" sibTransId="{F63B12AF-AA63-40D8-91B1-A43456423012}"/>
    <dgm:cxn modelId="{442E3C75-A037-472A-8542-FE25E0FD9535}" type="presOf" srcId="{D8E4C4CB-9F61-49AE-8AA4-EA3130FE86ED}" destId="{030370BE-3BED-414E-AC4B-F4622D15CB08}" srcOrd="0" destOrd="0" presId="urn:microsoft.com/office/officeart/2018/2/layout/IconVerticalSolidList"/>
    <dgm:cxn modelId="{FAB9D55A-0EDC-4814-AB7D-BD7D836B72F1}" srcId="{9DB880EC-6A74-49F5-B0C0-1AAB1C8261B0}" destId="{99FE34DB-0980-409E-BD27-A322F1BBB5E3}" srcOrd="1" destOrd="0" parTransId="{29112901-1B13-47AE-B407-CF67C51B9028}" sibTransId="{10906C90-6B6B-457C-AE6E-01FF851485C4}"/>
    <dgm:cxn modelId="{B9A7447E-EF0A-4D28-9546-105551576B01}" type="presOf" srcId="{9DB880EC-6A74-49F5-B0C0-1AAB1C8261B0}" destId="{65E66104-0360-4F6A-B0B9-F4C3C4CACC93}" srcOrd="0" destOrd="0" presId="urn:microsoft.com/office/officeart/2018/2/layout/IconVerticalSolidList"/>
    <dgm:cxn modelId="{3E000A88-3985-4191-B710-CF81124D4378}" srcId="{C2BFA4DF-D8CD-4B09-8802-033E56F0151F}" destId="{871DA503-829E-4D9E-BB5D-03F0D52AC9EF}" srcOrd="0" destOrd="0" parTransId="{53F562A4-DE67-4C8D-8FAD-6097616BC1C1}" sibTransId="{F68EBDCE-ED55-4431-9BBB-F3311FE1F40B}"/>
    <dgm:cxn modelId="{1DAAC89A-4C51-4227-82D1-A87A36552AB5}" srcId="{88DDC2FE-6CAB-4F20-ABA4-5347439C905E}" destId="{186245E0-45AA-4D73-A04F-33952600B094}" srcOrd="0" destOrd="0" parTransId="{7BEA3A9A-09DF-4B7B-BE57-8ACB06F8E43B}" sibTransId="{A7827101-3128-4196-BE57-320B375ED3E8}"/>
    <dgm:cxn modelId="{B4A11E9C-F7E9-4DA4-AE1A-C4430050F7C6}" type="presOf" srcId="{186245E0-45AA-4D73-A04F-33952600B094}" destId="{8498C856-C141-4CC0-BCB2-905095958D2A}" srcOrd="0" destOrd="0" presId="urn:microsoft.com/office/officeart/2018/2/layout/IconVerticalSolidList"/>
    <dgm:cxn modelId="{686BADA5-9B55-4767-BDAD-862AB2477C9B}" type="presOf" srcId="{4804AB7D-3C49-4A53-9451-A3A9093D3456}" destId="{31B11243-AAD5-42D2-9722-ED914FC2D2AD}" srcOrd="0" destOrd="0" presId="urn:microsoft.com/office/officeart/2018/2/layout/IconVerticalSolidList"/>
    <dgm:cxn modelId="{2246A5A6-9C22-400E-89FC-ADE7B7834E25}" srcId="{9971BEE3-AC77-40C2-A883-0F71163F3FE8}" destId="{C2BFA4DF-D8CD-4B09-8802-033E56F0151F}" srcOrd="3" destOrd="0" parTransId="{AE7F4D5A-D230-4BF5-9DF3-757BC9A0A33C}" sibTransId="{F141DAF2-094E-4765-94FB-E837A6187318}"/>
    <dgm:cxn modelId="{874D34B3-1803-4B0F-B031-057501AC44E9}" srcId="{4804AB7D-3C49-4A53-9451-A3A9093D3456}" destId="{D8E4C4CB-9F61-49AE-8AA4-EA3130FE86ED}" srcOrd="0" destOrd="0" parTransId="{E58BB342-87FC-4AA6-8BC1-3EF1E583D402}" sibTransId="{4E519F5B-EE7D-4676-82DC-69F35D0C6FB9}"/>
    <dgm:cxn modelId="{F80F31D1-2F7C-49F1-841A-9CC6E8C324B6}" srcId="{88DDC2FE-6CAB-4F20-ABA4-5347439C905E}" destId="{66B01599-9273-49E5-96DB-FA31C4AC7B10}" srcOrd="1" destOrd="0" parTransId="{0D109D5A-FEE4-4D65-8924-7DAFFD42D4DD}" sibTransId="{7CA87FD6-210F-48A5-A1A2-62059A97216C}"/>
    <dgm:cxn modelId="{B3FE6CF4-F1CA-46C4-A66B-7450FEFA96E8}" srcId="{4804AB7D-3C49-4A53-9451-A3A9093D3456}" destId="{5A84C6F9-D02C-4148-BB76-3EB3C8B5A457}" srcOrd="1" destOrd="0" parTransId="{06461CCB-613F-4632-B0D5-F7FA6077E11B}" sibTransId="{9DDC44B6-E7F4-4558-9FB1-9711F7027201}"/>
    <dgm:cxn modelId="{F03D644D-65A9-4A8F-8867-41446D7065CD}" type="presParOf" srcId="{C9AD451F-86FA-4EA7-9D49-98D1CBC2E0B8}" destId="{5A40672B-636D-41E7-A87E-CFD7070EFDD3}" srcOrd="0" destOrd="0" presId="urn:microsoft.com/office/officeart/2018/2/layout/IconVerticalSolidList"/>
    <dgm:cxn modelId="{476F698D-055F-42A4-BFAA-648E364922A2}" type="presParOf" srcId="{5A40672B-636D-41E7-A87E-CFD7070EFDD3}" destId="{D0D3689F-7A62-4B56-AE82-CBC77B224287}" srcOrd="0" destOrd="0" presId="urn:microsoft.com/office/officeart/2018/2/layout/IconVerticalSolidList"/>
    <dgm:cxn modelId="{D51241FF-DC53-4DFA-B4C0-39097CBA698E}" type="presParOf" srcId="{5A40672B-636D-41E7-A87E-CFD7070EFDD3}" destId="{BE073D61-8D46-41B6-B5CD-57123F4A1C6C}" srcOrd="1" destOrd="0" presId="urn:microsoft.com/office/officeart/2018/2/layout/IconVerticalSolidList"/>
    <dgm:cxn modelId="{D0C7465C-9A78-4E8F-A54E-70BCDBD3171E}" type="presParOf" srcId="{5A40672B-636D-41E7-A87E-CFD7070EFDD3}" destId="{89717304-C382-45F0-BF5D-551009A71449}" srcOrd="2" destOrd="0" presId="urn:microsoft.com/office/officeart/2018/2/layout/IconVerticalSolidList"/>
    <dgm:cxn modelId="{A9918BD9-3032-40BA-9894-23A7F7315E3F}" type="presParOf" srcId="{5A40672B-636D-41E7-A87E-CFD7070EFDD3}" destId="{8920CC86-B3BD-4A1E-B08E-784E33D50FB8}" srcOrd="3" destOrd="0" presId="urn:microsoft.com/office/officeart/2018/2/layout/IconVerticalSolidList"/>
    <dgm:cxn modelId="{30E7DC97-07F0-4D35-B6BA-11A75F4CDC14}" type="presParOf" srcId="{5A40672B-636D-41E7-A87E-CFD7070EFDD3}" destId="{8498C856-C141-4CC0-BCB2-905095958D2A}" srcOrd="4" destOrd="0" presId="urn:microsoft.com/office/officeart/2018/2/layout/IconVerticalSolidList"/>
    <dgm:cxn modelId="{9BE365FA-3822-47EF-B38D-D132C51CFD02}" type="presParOf" srcId="{C9AD451F-86FA-4EA7-9D49-98D1CBC2E0B8}" destId="{1FBBED60-EF33-4A6E-9E35-D77DE8AD07B2}" srcOrd="1" destOrd="0" presId="urn:microsoft.com/office/officeart/2018/2/layout/IconVerticalSolidList"/>
    <dgm:cxn modelId="{82D4E758-E77A-42DA-B12D-71B986DF20CE}" type="presParOf" srcId="{C9AD451F-86FA-4EA7-9D49-98D1CBC2E0B8}" destId="{6348CEE5-FD12-4B9E-8C0C-ADF29C4C44B2}" srcOrd="2" destOrd="0" presId="urn:microsoft.com/office/officeart/2018/2/layout/IconVerticalSolidList"/>
    <dgm:cxn modelId="{05A4693F-8FCF-401F-87B7-A27F64351A7D}" type="presParOf" srcId="{6348CEE5-FD12-4B9E-8C0C-ADF29C4C44B2}" destId="{EFF85BC6-2CC0-4258-8FE1-4C5C9E0C8083}" srcOrd="0" destOrd="0" presId="urn:microsoft.com/office/officeart/2018/2/layout/IconVerticalSolidList"/>
    <dgm:cxn modelId="{663CFFE4-C8FA-454C-9CE5-B2FD9244491C}" type="presParOf" srcId="{6348CEE5-FD12-4B9E-8C0C-ADF29C4C44B2}" destId="{91A2890B-5FE5-4AA7-BAD5-A76CF821FCB6}" srcOrd="1" destOrd="0" presId="urn:microsoft.com/office/officeart/2018/2/layout/IconVerticalSolidList"/>
    <dgm:cxn modelId="{A1CDAFB4-3AA2-405B-8FFF-88FB6CC5F446}" type="presParOf" srcId="{6348CEE5-FD12-4B9E-8C0C-ADF29C4C44B2}" destId="{FA939E62-7EA9-4A3A-804E-C46452768896}" srcOrd="2" destOrd="0" presId="urn:microsoft.com/office/officeart/2018/2/layout/IconVerticalSolidList"/>
    <dgm:cxn modelId="{EBBD3626-A41B-44E1-B85B-F00115EEF1B8}" type="presParOf" srcId="{6348CEE5-FD12-4B9E-8C0C-ADF29C4C44B2}" destId="{31B11243-AAD5-42D2-9722-ED914FC2D2AD}" srcOrd="3" destOrd="0" presId="urn:microsoft.com/office/officeart/2018/2/layout/IconVerticalSolidList"/>
    <dgm:cxn modelId="{BA36118E-C43C-4B64-A2B1-3DCB2CEA2BA4}" type="presParOf" srcId="{6348CEE5-FD12-4B9E-8C0C-ADF29C4C44B2}" destId="{030370BE-3BED-414E-AC4B-F4622D15CB08}" srcOrd="4" destOrd="0" presId="urn:microsoft.com/office/officeart/2018/2/layout/IconVerticalSolidList"/>
    <dgm:cxn modelId="{3E996118-278F-4E05-9E29-9AB3D84BE54F}" type="presParOf" srcId="{C9AD451F-86FA-4EA7-9D49-98D1CBC2E0B8}" destId="{BCC23592-41D4-4DEE-A8A3-F7C70478EA14}" srcOrd="3" destOrd="0" presId="urn:microsoft.com/office/officeart/2018/2/layout/IconVerticalSolidList"/>
    <dgm:cxn modelId="{63D3D6B9-2461-49BF-A5E1-7DAB1C5FFAB5}" type="presParOf" srcId="{C9AD451F-86FA-4EA7-9D49-98D1CBC2E0B8}" destId="{AFC410BA-20D4-44C7-BD1B-A591129AAFF6}" srcOrd="4" destOrd="0" presId="urn:microsoft.com/office/officeart/2018/2/layout/IconVerticalSolidList"/>
    <dgm:cxn modelId="{7B057ABB-1F9A-437F-B933-405609B2757F}" type="presParOf" srcId="{AFC410BA-20D4-44C7-BD1B-A591129AAFF6}" destId="{D893CDCD-C9B5-420F-8D1C-810AE4BEBAEB}" srcOrd="0" destOrd="0" presId="urn:microsoft.com/office/officeart/2018/2/layout/IconVerticalSolidList"/>
    <dgm:cxn modelId="{5F991E53-5AFE-4AB7-9574-C7B41279E1CB}" type="presParOf" srcId="{AFC410BA-20D4-44C7-BD1B-A591129AAFF6}" destId="{223B316C-E0D5-4165-9B07-D38AAA0160AB}" srcOrd="1" destOrd="0" presId="urn:microsoft.com/office/officeart/2018/2/layout/IconVerticalSolidList"/>
    <dgm:cxn modelId="{6BE4FCE5-EFC4-4A19-8685-3657E713B784}" type="presParOf" srcId="{AFC410BA-20D4-44C7-BD1B-A591129AAFF6}" destId="{46426F1D-2D93-4E46-8F51-FD55C0F93EF3}" srcOrd="2" destOrd="0" presId="urn:microsoft.com/office/officeart/2018/2/layout/IconVerticalSolidList"/>
    <dgm:cxn modelId="{D7723D4C-D51A-4C08-BAC4-7DD14E96B5E6}" type="presParOf" srcId="{AFC410BA-20D4-44C7-BD1B-A591129AAFF6}" destId="{65E66104-0360-4F6A-B0B9-F4C3C4CACC93}" srcOrd="3" destOrd="0" presId="urn:microsoft.com/office/officeart/2018/2/layout/IconVerticalSolidList"/>
    <dgm:cxn modelId="{BB87DE28-F316-41C5-9399-E289D8C42591}" type="presParOf" srcId="{AFC410BA-20D4-44C7-BD1B-A591129AAFF6}" destId="{4ADE37EB-78C8-4320-8AF4-2C8142E5D908}" srcOrd="4" destOrd="0" presId="urn:microsoft.com/office/officeart/2018/2/layout/IconVerticalSolidList"/>
    <dgm:cxn modelId="{C4ABD8C1-B354-420B-82E9-BD0E3BA9F2A7}" type="presParOf" srcId="{C9AD451F-86FA-4EA7-9D49-98D1CBC2E0B8}" destId="{65610EE9-DA63-4719-924C-69F0EEC08D30}" srcOrd="5" destOrd="0" presId="urn:microsoft.com/office/officeart/2018/2/layout/IconVerticalSolidList"/>
    <dgm:cxn modelId="{5A72907F-98BF-4137-B342-52294E6CAB92}" type="presParOf" srcId="{C9AD451F-86FA-4EA7-9D49-98D1CBC2E0B8}" destId="{7F7CB634-7A8A-47EB-8899-1CF9EADC4070}" srcOrd="6" destOrd="0" presId="urn:microsoft.com/office/officeart/2018/2/layout/IconVerticalSolidList"/>
    <dgm:cxn modelId="{A890769D-2152-47DA-B312-974C495DDD25}" type="presParOf" srcId="{7F7CB634-7A8A-47EB-8899-1CF9EADC4070}" destId="{E00D36D0-BBF0-4844-834F-2800F1E1AEC1}" srcOrd="0" destOrd="0" presId="urn:microsoft.com/office/officeart/2018/2/layout/IconVerticalSolidList"/>
    <dgm:cxn modelId="{2238776D-C647-4EFC-9824-E86C4B301AAE}" type="presParOf" srcId="{7F7CB634-7A8A-47EB-8899-1CF9EADC4070}" destId="{F58E9F49-77D8-4139-8C63-25BF8DB1D104}" srcOrd="1" destOrd="0" presId="urn:microsoft.com/office/officeart/2018/2/layout/IconVerticalSolidList"/>
    <dgm:cxn modelId="{44A6E620-7518-4A0C-A8CA-8DB40A2E2EFE}" type="presParOf" srcId="{7F7CB634-7A8A-47EB-8899-1CF9EADC4070}" destId="{8E234F5F-79AB-4696-A29D-5E1DF65AD91E}" srcOrd="2" destOrd="0" presId="urn:microsoft.com/office/officeart/2018/2/layout/IconVerticalSolidList"/>
    <dgm:cxn modelId="{BBCEA698-75CD-4D5A-A259-7B3D07BE629D}" type="presParOf" srcId="{7F7CB634-7A8A-47EB-8899-1CF9EADC4070}" destId="{DA5C2ADF-1CBF-4F6F-B1EE-DE99159285D2}" srcOrd="3" destOrd="0" presId="urn:microsoft.com/office/officeart/2018/2/layout/IconVerticalSolidList"/>
    <dgm:cxn modelId="{7E947F8E-FF4F-411B-AA1B-1A950967AADB}" type="presParOf" srcId="{7F7CB634-7A8A-47EB-8899-1CF9EADC4070}" destId="{306A893A-4B08-49C7-8A72-F44D990C8842}" srcOrd="4"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A15F0F7-1BAD-4DF3-9E7C-AE781CB805F9}" type="doc">
      <dgm:prSet loTypeId="urn:microsoft.com/office/officeart/2016/7/layout/HorizontalActionList" loCatId="List" qsTypeId="urn:microsoft.com/office/officeart/2005/8/quickstyle/simple1" qsCatId="simple" csTypeId="urn:microsoft.com/office/officeart/2005/8/colors/accent1_2" csCatId="accent1"/>
      <dgm:spPr/>
      <dgm:t>
        <a:bodyPr/>
        <a:lstStyle/>
        <a:p>
          <a:endParaRPr lang="en-US"/>
        </a:p>
      </dgm:t>
    </dgm:pt>
    <dgm:pt modelId="{7E54BBF4-0C99-4779-B0D0-6D536F6FDC15}">
      <dgm:prSet/>
      <dgm:spPr/>
      <dgm:t>
        <a:bodyPr/>
        <a:lstStyle/>
        <a:p>
          <a:r>
            <a:rPr lang="en-US"/>
            <a:t>Defer</a:t>
          </a:r>
        </a:p>
      </dgm:t>
    </dgm:pt>
    <dgm:pt modelId="{D4D186C2-E23B-4B68-909E-ECE14B9B3C56}" type="parTrans" cxnId="{3F9F6958-4887-434A-B1D9-51268705432D}">
      <dgm:prSet/>
      <dgm:spPr/>
      <dgm:t>
        <a:bodyPr/>
        <a:lstStyle/>
        <a:p>
          <a:endParaRPr lang="en-US"/>
        </a:p>
      </dgm:t>
    </dgm:pt>
    <dgm:pt modelId="{41E1BE81-0CA3-44DD-B70E-1F072A6D95B9}" type="sibTrans" cxnId="{3F9F6958-4887-434A-B1D9-51268705432D}">
      <dgm:prSet/>
      <dgm:spPr/>
      <dgm:t>
        <a:bodyPr/>
        <a:lstStyle/>
        <a:p>
          <a:endParaRPr lang="en-US"/>
        </a:p>
      </dgm:t>
    </dgm:pt>
    <dgm:pt modelId="{DD549E23-C9BA-44BF-9484-B06A6C2B17F6}">
      <dgm:prSet/>
      <dgm:spPr/>
      <dgm:t>
        <a:bodyPr/>
        <a:lstStyle/>
        <a:p>
          <a:r>
            <a:rPr lang="en-US"/>
            <a:t>Defer Load Content</a:t>
          </a:r>
        </a:p>
      </dgm:t>
    </dgm:pt>
    <dgm:pt modelId="{D3EEF4DF-1159-4174-BE4F-1DDE3C35A588}" type="parTrans" cxnId="{A5E59CF0-55D2-4F3A-91FD-6EF4802A3C6B}">
      <dgm:prSet/>
      <dgm:spPr/>
      <dgm:t>
        <a:bodyPr/>
        <a:lstStyle/>
        <a:p>
          <a:endParaRPr lang="en-US"/>
        </a:p>
      </dgm:t>
    </dgm:pt>
    <dgm:pt modelId="{7DCEBB93-2DB7-4213-97F4-1C573D2710CC}" type="sibTrans" cxnId="{A5E59CF0-55D2-4F3A-91FD-6EF4802A3C6B}">
      <dgm:prSet/>
      <dgm:spPr/>
      <dgm:t>
        <a:bodyPr/>
        <a:lstStyle/>
        <a:p>
          <a:endParaRPr lang="en-US"/>
        </a:p>
      </dgm:t>
    </dgm:pt>
    <dgm:pt modelId="{CA0869F8-9E1C-4434-A48E-E8A6F38E5E17}">
      <dgm:prSet/>
      <dgm:spPr/>
      <dgm:t>
        <a:bodyPr/>
        <a:lstStyle/>
        <a:p>
          <a:r>
            <a:rPr lang="en-US"/>
            <a:t>Defer loading of items not in view, e.g. submenu items, page 2 of news not visible in initial viewport, view counts and social decorations.</a:t>
          </a:r>
        </a:p>
      </dgm:t>
    </dgm:pt>
    <dgm:pt modelId="{57609DD4-DC4D-47C2-8A44-9155C697416C}" type="parTrans" cxnId="{24B31791-7F06-44CA-811F-A8B02E5FA7B7}">
      <dgm:prSet/>
      <dgm:spPr/>
      <dgm:t>
        <a:bodyPr/>
        <a:lstStyle/>
        <a:p>
          <a:endParaRPr lang="en-US"/>
        </a:p>
      </dgm:t>
    </dgm:pt>
    <dgm:pt modelId="{AC92C208-79F7-4972-9C1E-79DEB9BFA172}" type="sibTrans" cxnId="{24B31791-7F06-44CA-811F-A8B02E5FA7B7}">
      <dgm:prSet/>
      <dgm:spPr/>
      <dgm:t>
        <a:bodyPr/>
        <a:lstStyle/>
        <a:p>
          <a:endParaRPr lang="en-US"/>
        </a:p>
      </dgm:t>
    </dgm:pt>
    <dgm:pt modelId="{7D0C12AC-3A47-4318-8D39-F4C6DC80E117}">
      <dgm:prSet/>
      <dgm:spPr/>
      <dgm:t>
        <a:bodyPr/>
        <a:lstStyle/>
        <a:p>
          <a:r>
            <a:rPr lang="en-US"/>
            <a:t>Avoid</a:t>
          </a:r>
        </a:p>
      </dgm:t>
    </dgm:pt>
    <dgm:pt modelId="{1EEACA26-BA78-4EA4-ABB6-C5081A5B502F}" type="parTrans" cxnId="{8437AD05-AEF4-45BE-B2E0-BACE2FE01E6D}">
      <dgm:prSet/>
      <dgm:spPr/>
      <dgm:t>
        <a:bodyPr/>
        <a:lstStyle/>
        <a:p>
          <a:endParaRPr lang="en-US"/>
        </a:p>
      </dgm:t>
    </dgm:pt>
    <dgm:pt modelId="{12412D55-7999-404B-8F2D-8815312DC6E5}" type="sibTrans" cxnId="{8437AD05-AEF4-45BE-B2E0-BACE2FE01E6D}">
      <dgm:prSet/>
      <dgm:spPr/>
      <dgm:t>
        <a:bodyPr/>
        <a:lstStyle/>
        <a:p>
          <a:endParaRPr lang="en-US"/>
        </a:p>
      </dgm:t>
    </dgm:pt>
    <dgm:pt modelId="{C2CBCDF2-D09D-4479-8FEC-10E422210ABF}">
      <dgm:prSet/>
      <dgm:spPr/>
      <dgm:t>
        <a:bodyPr/>
        <a:lstStyle/>
        <a:p>
          <a:r>
            <a:rPr lang="en-US"/>
            <a:t>Avoid monolithic hierarchies</a:t>
          </a:r>
        </a:p>
      </dgm:t>
    </dgm:pt>
    <dgm:pt modelId="{C2B5E46B-7305-4B0E-9873-1F4A2B6894DF}" type="parTrans" cxnId="{529F3E37-25B4-445B-8425-D31CC25B3229}">
      <dgm:prSet/>
      <dgm:spPr/>
      <dgm:t>
        <a:bodyPr/>
        <a:lstStyle/>
        <a:p>
          <a:endParaRPr lang="en-US"/>
        </a:p>
      </dgm:t>
    </dgm:pt>
    <dgm:pt modelId="{023B110A-6CE2-40B7-9F79-CE47149DB877}" type="sibTrans" cxnId="{529F3E37-25B4-445B-8425-D31CC25B3229}">
      <dgm:prSet/>
      <dgm:spPr/>
      <dgm:t>
        <a:bodyPr/>
        <a:lstStyle/>
        <a:p>
          <a:endParaRPr lang="en-US"/>
        </a:p>
      </dgm:t>
    </dgm:pt>
    <dgm:pt modelId="{900A9A70-9DC4-4D3D-8B67-EB908C30CC07}">
      <dgm:prSet/>
      <dgm:spPr/>
      <dgm:t>
        <a:bodyPr/>
        <a:lstStyle/>
        <a:p>
          <a:r>
            <a:rPr lang="en-US"/>
            <a:t>Monolithic site hierarchies are hard to scale, reorganize, and manage. They risk mixing disparate workloads that may not commingle well.</a:t>
          </a:r>
        </a:p>
      </dgm:t>
    </dgm:pt>
    <dgm:pt modelId="{6289196C-1979-4872-8C90-5EDB15CDCC1E}" type="parTrans" cxnId="{2E62FDC2-12C7-48D2-BB68-ACA1420791E2}">
      <dgm:prSet/>
      <dgm:spPr/>
      <dgm:t>
        <a:bodyPr/>
        <a:lstStyle/>
        <a:p>
          <a:endParaRPr lang="en-US"/>
        </a:p>
      </dgm:t>
    </dgm:pt>
    <dgm:pt modelId="{B7C8FBA9-8458-4606-ACA2-694D8654F09C}" type="sibTrans" cxnId="{2E62FDC2-12C7-48D2-BB68-ACA1420791E2}">
      <dgm:prSet/>
      <dgm:spPr/>
      <dgm:t>
        <a:bodyPr/>
        <a:lstStyle/>
        <a:p>
          <a:endParaRPr lang="en-US"/>
        </a:p>
      </dgm:t>
    </dgm:pt>
    <dgm:pt modelId="{66A27A1A-310C-416F-B509-D20B88183970}">
      <dgm:prSet/>
      <dgm:spPr/>
      <dgm:t>
        <a:bodyPr/>
        <a:lstStyle/>
        <a:p>
          <a:r>
            <a:rPr lang="en-US"/>
            <a:t>Use</a:t>
          </a:r>
        </a:p>
      </dgm:t>
    </dgm:pt>
    <dgm:pt modelId="{A92E8E15-E8E2-4E3E-84A0-2B17F8DE4271}" type="parTrans" cxnId="{758C3315-93C1-45E5-93F6-58794F68243D}">
      <dgm:prSet/>
      <dgm:spPr/>
      <dgm:t>
        <a:bodyPr/>
        <a:lstStyle/>
        <a:p>
          <a:endParaRPr lang="en-US"/>
        </a:p>
      </dgm:t>
    </dgm:pt>
    <dgm:pt modelId="{273670E1-6526-4440-A178-148BAA0D5F48}" type="sibTrans" cxnId="{758C3315-93C1-45E5-93F6-58794F68243D}">
      <dgm:prSet/>
      <dgm:spPr/>
      <dgm:t>
        <a:bodyPr/>
        <a:lstStyle/>
        <a:p>
          <a:endParaRPr lang="en-US"/>
        </a:p>
      </dgm:t>
    </dgm:pt>
    <dgm:pt modelId="{7833CB7A-6B3F-4A35-9029-8AB7AF6C9C97}">
      <dgm:prSet/>
      <dgm:spPr/>
      <dgm:t>
        <a:bodyPr/>
        <a:lstStyle/>
        <a:p>
          <a:r>
            <a:rPr lang="en-US"/>
            <a:t>Use last-known-good (LKG) patterns</a:t>
          </a:r>
        </a:p>
      </dgm:t>
    </dgm:pt>
    <dgm:pt modelId="{E344659F-5DDD-4162-90B6-F557F3A6E374}" type="parTrans" cxnId="{14F37A2F-B979-45A7-84CF-468743326B5B}">
      <dgm:prSet/>
      <dgm:spPr/>
      <dgm:t>
        <a:bodyPr/>
        <a:lstStyle/>
        <a:p>
          <a:endParaRPr lang="en-US"/>
        </a:p>
      </dgm:t>
    </dgm:pt>
    <dgm:pt modelId="{2583FED4-7265-4478-83E1-9783EDB86891}" type="sibTrans" cxnId="{14F37A2F-B979-45A7-84CF-468743326B5B}">
      <dgm:prSet/>
      <dgm:spPr/>
      <dgm:t>
        <a:bodyPr/>
        <a:lstStyle/>
        <a:p>
          <a:endParaRPr lang="en-US"/>
        </a:p>
      </dgm:t>
    </dgm:pt>
    <dgm:pt modelId="{40CF7A53-5825-43AA-B4BA-4B0F3ABBFA8F}">
      <dgm:prSet/>
      <dgm:spPr/>
      <dgm:t>
        <a:bodyPr/>
        <a:lstStyle/>
        <a:p>
          <a:r>
            <a:rPr lang="en-US"/>
            <a:t>When possible, persist what the user previously saw and refresh after critical path rendering. Define appropriate animation when fresh content arrives.</a:t>
          </a:r>
        </a:p>
      </dgm:t>
    </dgm:pt>
    <dgm:pt modelId="{1E6BD739-C6B3-4727-ACC9-308B28FFB4CA}" type="parTrans" cxnId="{A1740F36-8E00-46C6-9D07-8ACF8516498E}">
      <dgm:prSet/>
      <dgm:spPr/>
      <dgm:t>
        <a:bodyPr/>
        <a:lstStyle/>
        <a:p>
          <a:endParaRPr lang="en-US"/>
        </a:p>
      </dgm:t>
    </dgm:pt>
    <dgm:pt modelId="{081C3EC4-F0C8-496E-836D-3ADCAFB35574}" type="sibTrans" cxnId="{A1740F36-8E00-46C6-9D07-8ACF8516498E}">
      <dgm:prSet/>
      <dgm:spPr/>
      <dgm:t>
        <a:bodyPr/>
        <a:lstStyle/>
        <a:p>
          <a:endParaRPr lang="en-US"/>
        </a:p>
      </dgm:t>
    </dgm:pt>
    <dgm:pt modelId="{E14F1D6E-3E11-4C9E-B53E-092A8DCB6306}">
      <dgm:prSet/>
      <dgm:spPr/>
      <dgm:t>
        <a:bodyPr/>
        <a:lstStyle/>
        <a:p>
          <a:r>
            <a:rPr lang="en-US"/>
            <a:t>Take advantage of LKG support for SPFx webparts.</a:t>
          </a:r>
        </a:p>
      </dgm:t>
    </dgm:pt>
    <dgm:pt modelId="{E1D4672D-5998-40C9-8B31-97CD558FE156}" type="parTrans" cxnId="{3BE0A1CE-2CAC-4B46-BFE1-1A587C244356}">
      <dgm:prSet/>
      <dgm:spPr/>
      <dgm:t>
        <a:bodyPr/>
        <a:lstStyle/>
        <a:p>
          <a:endParaRPr lang="en-US"/>
        </a:p>
      </dgm:t>
    </dgm:pt>
    <dgm:pt modelId="{B8996E2B-B9CC-4397-8533-9E6FF358EA9C}" type="sibTrans" cxnId="{3BE0A1CE-2CAC-4B46-BFE1-1A587C244356}">
      <dgm:prSet/>
      <dgm:spPr/>
      <dgm:t>
        <a:bodyPr/>
        <a:lstStyle/>
        <a:p>
          <a:endParaRPr lang="en-US"/>
        </a:p>
      </dgm:t>
    </dgm:pt>
    <dgm:pt modelId="{8235E41C-0145-4C90-BF0E-12DFE047D358}">
      <dgm:prSet/>
      <dgm:spPr/>
      <dgm:t>
        <a:bodyPr/>
        <a:lstStyle/>
        <a:p>
          <a:r>
            <a:rPr lang="en-US"/>
            <a:t>Limit</a:t>
          </a:r>
        </a:p>
      </dgm:t>
    </dgm:pt>
    <dgm:pt modelId="{52E7922A-AF03-4120-B852-03093E4A32A6}" type="parTrans" cxnId="{304CDB85-B98C-4DFF-AD73-13143030B486}">
      <dgm:prSet/>
      <dgm:spPr/>
      <dgm:t>
        <a:bodyPr/>
        <a:lstStyle/>
        <a:p>
          <a:endParaRPr lang="en-US"/>
        </a:p>
      </dgm:t>
    </dgm:pt>
    <dgm:pt modelId="{D67DBF1F-E34D-4822-9BF4-0ED10672C256}" type="sibTrans" cxnId="{304CDB85-B98C-4DFF-AD73-13143030B486}">
      <dgm:prSet/>
      <dgm:spPr/>
      <dgm:t>
        <a:bodyPr/>
        <a:lstStyle/>
        <a:p>
          <a:endParaRPr lang="en-US"/>
        </a:p>
      </dgm:t>
    </dgm:pt>
    <dgm:pt modelId="{2716A775-A515-45FB-9C37-94061CDB3965}">
      <dgm:prSet/>
      <dgm:spPr/>
      <dgm:t>
        <a:bodyPr/>
        <a:lstStyle/>
        <a:p>
          <a:r>
            <a:rPr lang="en-US"/>
            <a:t>Limit use of tenant–wide services</a:t>
          </a:r>
        </a:p>
      </dgm:t>
    </dgm:pt>
    <dgm:pt modelId="{5EC91DA3-5C3F-470B-906C-34A4D1115899}" type="parTrans" cxnId="{C444157C-C290-464F-9966-D5DF8BFDAF99}">
      <dgm:prSet/>
      <dgm:spPr/>
      <dgm:t>
        <a:bodyPr/>
        <a:lstStyle/>
        <a:p>
          <a:endParaRPr lang="en-US"/>
        </a:p>
      </dgm:t>
    </dgm:pt>
    <dgm:pt modelId="{0470B3AD-7D1C-4F5A-ACEF-B4341B080A13}" type="sibTrans" cxnId="{C444157C-C290-464F-9966-D5DF8BFDAF99}">
      <dgm:prSet/>
      <dgm:spPr/>
      <dgm:t>
        <a:bodyPr/>
        <a:lstStyle/>
        <a:p>
          <a:endParaRPr lang="en-US"/>
        </a:p>
      </dgm:t>
    </dgm:pt>
    <dgm:pt modelId="{6A93D19E-D8FB-4304-B9DF-7E8F41DEC507}">
      <dgm:prSet/>
      <dgm:spPr/>
      <dgm:t>
        <a:bodyPr/>
        <a:lstStyle/>
        <a:p>
          <a:r>
            <a:rPr lang="en-US"/>
            <a:t>Tenant-wide services such as user profile and taxonomy are tenant-wide single points of failure. Cache required data from these infrequently changing data sources. Data from these services is well suited for LKG patterns</a:t>
          </a:r>
        </a:p>
      </dgm:t>
    </dgm:pt>
    <dgm:pt modelId="{ACBD2B50-67FE-443A-87C0-0E25A04C075E}" type="parTrans" cxnId="{580E0B21-60A4-42A1-94CE-C7518BB80A78}">
      <dgm:prSet/>
      <dgm:spPr/>
      <dgm:t>
        <a:bodyPr/>
        <a:lstStyle/>
        <a:p>
          <a:endParaRPr lang="en-US"/>
        </a:p>
      </dgm:t>
    </dgm:pt>
    <dgm:pt modelId="{10EB3D2B-E29F-40A2-9C1F-4B8CBFE3CE02}" type="sibTrans" cxnId="{580E0B21-60A4-42A1-94CE-C7518BB80A78}">
      <dgm:prSet/>
      <dgm:spPr/>
      <dgm:t>
        <a:bodyPr/>
        <a:lstStyle/>
        <a:p>
          <a:endParaRPr lang="en-US"/>
        </a:p>
      </dgm:t>
    </dgm:pt>
    <dgm:pt modelId="{1DA80DB4-C173-450C-9E26-C58EB7745EFA}" type="pres">
      <dgm:prSet presAssocID="{9A15F0F7-1BAD-4DF3-9E7C-AE781CB805F9}" presName="Name0" presStyleCnt="0">
        <dgm:presLayoutVars>
          <dgm:dir/>
          <dgm:animLvl val="lvl"/>
          <dgm:resizeHandles val="exact"/>
        </dgm:presLayoutVars>
      </dgm:prSet>
      <dgm:spPr/>
    </dgm:pt>
    <dgm:pt modelId="{F4E86BC7-0AA6-4F68-8046-18C463FFEE47}" type="pres">
      <dgm:prSet presAssocID="{7E54BBF4-0C99-4779-B0D0-6D536F6FDC15}" presName="composite" presStyleCnt="0"/>
      <dgm:spPr/>
    </dgm:pt>
    <dgm:pt modelId="{F09DC186-A6F8-4912-8911-69D3E4873B85}" type="pres">
      <dgm:prSet presAssocID="{7E54BBF4-0C99-4779-B0D0-6D536F6FDC15}" presName="parTx" presStyleLbl="alignNode1" presStyleIdx="0" presStyleCnt="4">
        <dgm:presLayoutVars>
          <dgm:chMax val="0"/>
          <dgm:chPref val="0"/>
        </dgm:presLayoutVars>
      </dgm:prSet>
      <dgm:spPr/>
    </dgm:pt>
    <dgm:pt modelId="{C336BFFC-B3AB-4B39-ADF5-70BB673C37F3}" type="pres">
      <dgm:prSet presAssocID="{7E54BBF4-0C99-4779-B0D0-6D536F6FDC15}" presName="desTx" presStyleLbl="alignAccFollowNode1" presStyleIdx="0" presStyleCnt="4">
        <dgm:presLayoutVars/>
      </dgm:prSet>
      <dgm:spPr/>
    </dgm:pt>
    <dgm:pt modelId="{77C47998-B889-4B7F-8383-760F32C17207}" type="pres">
      <dgm:prSet presAssocID="{41E1BE81-0CA3-44DD-B70E-1F072A6D95B9}" presName="space" presStyleCnt="0"/>
      <dgm:spPr/>
    </dgm:pt>
    <dgm:pt modelId="{05A40613-81C3-48CB-BCFF-712823C25D5C}" type="pres">
      <dgm:prSet presAssocID="{7D0C12AC-3A47-4318-8D39-F4C6DC80E117}" presName="composite" presStyleCnt="0"/>
      <dgm:spPr/>
    </dgm:pt>
    <dgm:pt modelId="{CB176A3C-8EDA-4426-8BC0-DC0499FD7D9C}" type="pres">
      <dgm:prSet presAssocID="{7D0C12AC-3A47-4318-8D39-F4C6DC80E117}" presName="parTx" presStyleLbl="alignNode1" presStyleIdx="1" presStyleCnt="4">
        <dgm:presLayoutVars>
          <dgm:chMax val="0"/>
          <dgm:chPref val="0"/>
        </dgm:presLayoutVars>
      </dgm:prSet>
      <dgm:spPr/>
    </dgm:pt>
    <dgm:pt modelId="{9FBD2C98-77EC-4EF5-ABBC-8EEAB6DFD547}" type="pres">
      <dgm:prSet presAssocID="{7D0C12AC-3A47-4318-8D39-F4C6DC80E117}" presName="desTx" presStyleLbl="alignAccFollowNode1" presStyleIdx="1" presStyleCnt="4">
        <dgm:presLayoutVars/>
      </dgm:prSet>
      <dgm:spPr/>
    </dgm:pt>
    <dgm:pt modelId="{CA7BB415-D776-4BC1-A1AF-9896B3F2C73D}" type="pres">
      <dgm:prSet presAssocID="{12412D55-7999-404B-8F2D-8815312DC6E5}" presName="space" presStyleCnt="0"/>
      <dgm:spPr/>
    </dgm:pt>
    <dgm:pt modelId="{DE7E372D-601B-4698-ACA0-12E1637C624F}" type="pres">
      <dgm:prSet presAssocID="{66A27A1A-310C-416F-B509-D20B88183970}" presName="composite" presStyleCnt="0"/>
      <dgm:spPr/>
    </dgm:pt>
    <dgm:pt modelId="{D9B67194-5530-4FC8-849F-DD9CEAA0C9F7}" type="pres">
      <dgm:prSet presAssocID="{66A27A1A-310C-416F-B509-D20B88183970}" presName="parTx" presStyleLbl="alignNode1" presStyleIdx="2" presStyleCnt="4">
        <dgm:presLayoutVars>
          <dgm:chMax val="0"/>
          <dgm:chPref val="0"/>
        </dgm:presLayoutVars>
      </dgm:prSet>
      <dgm:spPr/>
    </dgm:pt>
    <dgm:pt modelId="{EC21720D-5914-4599-A978-5AC169E0C5AE}" type="pres">
      <dgm:prSet presAssocID="{66A27A1A-310C-416F-B509-D20B88183970}" presName="desTx" presStyleLbl="alignAccFollowNode1" presStyleIdx="2" presStyleCnt="4">
        <dgm:presLayoutVars/>
      </dgm:prSet>
      <dgm:spPr/>
    </dgm:pt>
    <dgm:pt modelId="{BE5F2AF7-8DAF-45AE-8904-CB73F271C3C0}" type="pres">
      <dgm:prSet presAssocID="{273670E1-6526-4440-A178-148BAA0D5F48}" presName="space" presStyleCnt="0"/>
      <dgm:spPr/>
    </dgm:pt>
    <dgm:pt modelId="{E56667A9-F7A9-44AC-8F16-41362A53CAAD}" type="pres">
      <dgm:prSet presAssocID="{8235E41C-0145-4C90-BF0E-12DFE047D358}" presName="composite" presStyleCnt="0"/>
      <dgm:spPr/>
    </dgm:pt>
    <dgm:pt modelId="{BBC3602B-7769-43F3-9CF1-369A6C668235}" type="pres">
      <dgm:prSet presAssocID="{8235E41C-0145-4C90-BF0E-12DFE047D358}" presName="parTx" presStyleLbl="alignNode1" presStyleIdx="3" presStyleCnt="4">
        <dgm:presLayoutVars>
          <dgm:chMax val="0"/>
          <dgm:chPref val="0"/>
        </dgm:presLayoutVars>
      </dgm:prSet>
      <dgm:spPr/>
    </dgm:pt>
    <dgm:pt modelId="{BA9A52FF-AF1B-4AE9-B136-6D8731D224F0}" type="pres">
      <dgm:prSet presAssocID="{8235E41C-0145-4C90-BF0E-12DFE047D358}" presName="desTx" presStyleLbl="alignAccFollowNode1" presStyleIdx="3" presStyleCnt="4">
        <dgm:presLayoutVars/>
      </dgm:prSet>
      <dgm:spPr/>
    </dgm:pt>
  </dgm:ptLst>
  <dgm:cxnLst>
    <dgm:cxn modelId="{8437AD05-AEF4-45BE-B2E0-BACE2FE01E6D}" srcId="{9A15F0F7-1BAD-4DF3-9E7C-AE781CB805F9}" destId="{7D0C12AC-3A47-4318-8D39-F4C6DC80E117}" srcOrd="1" destOrd="0" parTransId="{1EEACA26-BA78-4EA4-ABB6-C5081A5B502F}" sibTransId="{12412D55-7999-404B-8F2D-8815312DC6E5}"/>
    <dgm:cxn modelId="{758C3315-93C1-45E5-93F6-58794F68243D}" srcId="{9A15F0F7-1BAD-4DF3-9E7C-AE781CB805F9}" destId="{66A27A1A-310C-416F-B509-D20B88183970}" srcOrd="2" destOrd="0" parTransId="{A92E8E15-E8E2-4E3E-84A0-2B17F8DE4271}" sibTransId="{273670E1-6526-4440-A178-148BAA0D5F48}"/>
    <dgm:cxn modelId="{580E0B21-60A4-42A1-94CE-C7518BB80A78}" srcId="{2716A775-A515-45FB-9C37-94061CDB3965}" destId="{6A93D19E-D8FB-4304-B9DF-7E8F41DEC507}" srcOrd="0" destOrd="0" parTransId="{ACBD2B50-67FE-443A-87C0-0E25A04C075E}" sibTransId="{10EB3D2B-E29F-40A2-9C1F-4B8CBFE3CE02}"/>
    <dgm:cxn modelId="{136A672C-6183-45A4-9740-CB62318F62AC}" type="presOf" srcId="{CA0869F8-9E1C-4434-A48E-E8A6F38E5E17}" destId="{C336BFFC-B3AB-4B39-ADF5-70BB673C37F3}" srcOrd="0" destOrd="1" presId="urn:microsoft.com/office/officeart/2016/7/layout/HorizontalActionList"/>
    <dgm:cxn modelId="{1D5D9D2C-A0CB-437A-B827-992F0C6E04B6}" type="presOf" srcId="{9A15F0F7-1BAD-4DF3-9E7C-AE781CB805F9}" destId="{1DA80DB4-C173-450C-9E26-C58EB7745EFA}" srcOrd="0" destOrd="0" presId="urn:microsoft.com/office/officeart/2016/7/layout/HorizontalActionList"/>
    <dgm:cxn modelId="{14F37A2F-B979-45A7-84CF-468743326B5B}" srcId="{66A27A1A-310C-416F-B509-D20B88183970}" destId="{7833CB7A-6B3F-4A35-9029-8AB7AF6C9C97}" srcOrd="0" destOrd="0" parTransId="{E344659F-5DDD-4162-90B6-F557F3A6E374}" sibTransId="{2583FED4-7265-4478-83E1-9783EDB86891}"/>
    <dgm:cxn modelId="{A1740F36-8E00-46C6-9D07-8ACF8516498E}" srcId="{7833CB7A-6B3F-4A35-9029-8AB7AF6C9C97}" destId="{40CF7A53-5825-43AA-B4BA-4B0F3ABBFA8F}" srcOrd="0" destOrd="0" parTransId="{1E6BD739-C6B3-4727-ACC9-308B28FFB4CA}" sibTransId="{081C3EC4-F0C8-496E-836D-3ADCAFB35574}"/>
    <dgm:cxn modelId="{529F3E37-25B4-445B-8425-D31CC25B3229}" srcId="{7D0C12AC-3A47-4318-8D39-F4C6DC80E117}" destId="{C2CBCDF2-D09D-4479-8FEC-10E422210ABF}" srcOrd="0" destOrd="0" parTransId="{C2B5E46B-7305-4B0E-9873-1F4A2B6894DF}" sibTransId="{023B110A-6CE2-40B7-9F79-CE47149DB877}"/>
    <dgm:cxn modelId="{4EA41145-114B-4879-A713-4312752BD11D}" type="presOf" srcId="{E14F1D6E-3E11-4C9E-B53E-092A8DCB6306}" destId="{EC21720D-5914-4599-A978-5AC169E0C5AE}" srcOrd="0" destOrd="2" presId="urn:microsoft.com/office/officeart/2016/7/layout/HorizontalActionList"/>
    <dgm:cxn modelId="{74509353-5019-4821-8A63-240B89275F7F}" type="presOf" srcId="{66A27A1A-310C-416F-B509-D20B88183970}" destId="{D9B67194-5530-4FC8-849F-DD9CEAA0C9F7}" srcOrd="0" destOrd="0" presId="urn:microsoft.com/office/officeart/2016/7/layout/HorizontalActionList"/>
    <dgm:cxn modelId="{B5C29774-4FD0-4FEA-9B16-C1CA70AAF2B7}" type="presOf" srcId="{7D0C12AC-3A47-4318-8D39-F4C6DC80E117}" destId="{CB176A3C-8EDA-4426-8BC0-DC0499FD7D9C}" srcOrd="0" destOrd="0" presId="urn:microsoft.com/office/officeart/2016/7/layout/HorizontalActionList"/>
    <dgm:cxn modelId="{2DF7C174-52BF-4845-B2D8-05ECDD3A8C2B}" type="presOf" srcId="{8235E41C-0145-4C90-BF0E-12DFE047D358}" destId="{BBC3602B-7769-43F3-9CF1-369A6C668235}" srcOrd="0" destOrd="0" presId="urn:microsoft.com/office/officeart/2016/7/layout/HorizontalActionList"/>
    <dgm:cxn modelId="{3F9F6958-4887-434A-B1D9-51268705432D}" srcId="{9A15F0F7-1BAD-4DF3-9E7C-AE781CB805F9}" destId="{7E54BBF4-0C99-4779-B0D0-6D536F6FDC15}" srcOrd="0" destOrd="0" parTransId="{D4D186C2-E23B-4B68-909E-ECE14B9B3C56}" sibTransId="{41E1BE81-0CA3-44DD-B70E-1F072A6D95B9}"/>
    <dgm:cxn modelId="{C444157C-C290-464F-9966-D5DF8BFDAF99}" srcId="{8235E41C-0145-4C90-BF0E-12DFE047D358}" destId="{2716A775-A515-45FB-9C37-94061CDB3965}" srcOrd="0" destOrd="0" parTransId="{5EC91DA3-5C3F-470B-906C-34A4D1115899}" sibTransId="{0470B3AD-7D1C-4F5A-ACEF-B4341B080A13}"/>
    <dgm:cxn modelId="{304CDB85-B98C-4DFF-AD73-13143030B486}" srcId="{9A15F0F7-1BAD-4DF3-9E7C-AE781CB805F9}" destId="{8235E41C-0145-4C90-BF0E-12DFE047D358}" srcOrd="3" destOrd="0" parTransId="{52E7922A-AF03-4120-B852-03093E4A32A6}" sibTransId="{D67DBF1F-E34D-4822-9BF4-0ED10672C256}"/>
    <dgm:cxn modelId="{7278A890-521F-4CE2-8F3E-030FFD3C2CA4}" type="presOf" srcId="{40CF7A53-5825-43AA-B4BA-4B0F3ABBFA8F}" destId="{EC21720D-5914-4599-A978-5AC169E0C5AE}" srcOrd="0" destOrd="1" presId="urn:microsoft.com/office/officeart/2016/7/layout/HorizontalActionList"/>
    <dgm:cxn modelId="{24B31791-7F06-44CA-811F-A8B02E5FA7B7}" srcId="{DD549E23-C9BA-44BF-9484-B06A6C2B17F6}" destId="{CA0869F8-9E1C-4434-A48E-E8A6F38E5E17}" srcOrd="0" destOrd="0" parTransId="{57609DD4-DC4D-47C2-8A44-9155C697416C}" sibTransId="{AC92C208-79F7-4972-9C1E-79DEB9BFA172}"/>
    <dgm:cxn modelId="{C6F71BAB-4A72-4EBB-A58D-319B69DA939E}" type="presOf" srcId="{900A9A70-9DC4-4D3D-8B67-EB908C30CC07}" destId="{9FBD2C98-77EC-4EF5-ABBC-8EEAB6DFD547}" srcOrd="0" destOrd="1" presId="urn:microsoft.com/office/officeart/2016/7/layout/HorizontalActionList"/>
    <dgm:cxn modelId="{F3ED72B5-F534-4FBF-AD6C-3ADD9E1E4D99}" type="presOf" srcId="{2716A775-A515-45FB-9C37-94061CDB3965}" destId="{BA9A52FF-AF1B-4AE9-B136-6D8731D224F0}" srcOrd="0" destOrd="0" presId="urn:microsoft.com/office/officeart/2016/7/layout/HorizontalActionList"/>
    <dgm:cxn modelId="{2E62FDC2-12C7-48D2-BB68-ACA1420791E2}" srcId="{C2CBCDF2-D09D-4479-8FEC-10E422210ABF}" destId="{900A9A70-9DC4-4D3D-8B67-EB908C30CC07}" srcOrd="0" destOrd="0" parTransId="{6289196C-1979-4872-8C90-5EDB15CDCC1E}" sibTransId="{B7C8FBA9-8458-4606-ACA2-694D8654F09C}"/>
    <dgm:cxn modelId="{E9F95AC8-5CBE-4DBE-9F01-DD73ADE38088}" type="presOf" srcId="{6A93D19E-D8FB-4304-B9DF-7E8F41DEC507}" destId="{BA9A52FF-AF1B-4AE9-B136-6D8731D224F0}" srcOrd="0" destOrd="1" presId="urn:microsoft.com/office/officeart/2016/7/layout/HorizontalActionList"/>
    <dgm:cxn modelId="{3BE0A1CE-2CAC-4B46-BFE1-1A587C244356}" srcId="{7833CB7A-6B3F-4A35-9029-8AB7AF6C9C97}" destId="{E14F1D6E-3E11-4C9E-B53E-092A8DCB6306}" srcOrd="1" destOrd="0" parTransId="{E1D4672D-5998-40C9-8B31-97CD558FE156}" sibTransId="{B8996E2B-B9CC-4397-8533-9E6FF358EA9C}"/>
    <dgm:cxn modelId="{34B578E2-0F44-4A35-83D6-0C7ECF2DC788}" type="presOf" srcId="{7E54BBF4-0C99-4779-B0D0-6D536F6FDC15}" destId="{F09DC186-A6F8-4912-8911-69D3E4873B85}" srcOrd="0" destOrd="0" presId="urn:microsoft.com/office/officeart/2016/7/layout/HorizontalActionList"/>
    <dgm:cxn modelId="{C834A8E8-8069-40D4-929C-0EBB725C51CA}" type="presOf" srcId="{C2CBCDF2-D09D-4479-8FEC-10E422210ABF}" destId="{9FBD2C98-77EC-4EF5-ABBC-8EEAB6DFD547}" srcOrd="0" destOrd="0" presId="urn:microsoft.com/office/officeart/2016/7/layout/HorizontalActionList"/>
    <dgm:cxn modelId="{A5E59CF0-55D2-4F3A-91FD-6EF4802A3C6B}" srcId="{7E54BBF4-0C99-4779-B0D0-6D536F6FDC15}" destId="{DD549E23-C9BA-44BF-9484-B06A6C2B17F6}" srcOrd="0" destOrd="0" parTransId="{D3EEF4DF-1159-4174-BE4F-1DDE3C35A588}" sibTransId="{7DCEBB93-2DB7-4213-97F4-1C573D2710CC}"/>
    <dgm:cxn modelId="{A67E46FB-3D27-456F-923D-C4288982D0EF}" type="presOf" srcId="{7833CB7A-6B3F-4A35-9029-8AB7AF6C9C97}" destId="{EC21720D-5914-4599-A978-5AC169E0C5AE}" srcOrd="0" destOrd="0" presId="urn:microsoft.com/office/officeart/2016/7/layout/HorizontalActionList"/>
    <dgm:cxn modelId="{569605FC-3763-466B-926C-F9A0C805E6CC}" type="presOf" srcId="{DD549E23-C9BA-44BF-9484-B06A6C2B17F6}" destId="{C336BFFC-B3AB-4B39-ADF5-70BB673C37F3}" srcOrd="0" destOrd="0" presId="urn:microsoft.com/office/officeart/2016/7/layout/HorizontalActionList"/>
    <dgm:cxn modelId="{900ABC28-1542-48BF-956C-66AC2C15D659}" type="presParOf" srcId="{1DA80DB4-C173-450C-9E26-C58EB7745EFA}" destId="{F4E86BC7-0AA6-4F68-8046-18C463FFEE47}" srcOrd="0" destOrd="0" presId="urn:microsoft.com/office/officeart/2016/7/layout/HorizontalActionList"/>
    <dgm:cxn modelId="{490FD47B-992F-4094-9460-175F53AFEFC8}" type="presParOf" srcId="{F4E86BC7-0AA6-4F68-8046-18C463FFEE47}" destId="{F09DC186-A6F8-4912-8911-69D3E4873B85}" srcOrd="0" destOrd="0" presId="urn:microsoft.com/office/officeart/2016/7/layout/HorizontalActionList"/>
    <dgm:cxn modelId="{AF5EB5D5-4CC2-4A0F-89BE-B8EDC9FFB09B}" type="presParOf" srcId="{F4E86BC7-0AA6-4F68-8046-18C463FFEE47}" destId="{C336BFFC-B3AB-4B39-ADF5-70BB673C37F3}" srcOrd="1" destOrd="0" presId="urn:microsoft.com/office/officeart/2016/7/layout/HorizontalActionList"/>
    <dgm:cxn modelId="{86B65ECA-DC37-4075-B893-9AD2426E62BB}" type="presParOf" srcId="{1DA80DB4-C173-450C-9E26-C58EB7745EFA}" destId="{77C47998-B889-4B7F-8383-760F32C17207}" srcOrd="1" destOrd="0" presId="urn:microsoft.com/office/officeart/2016/7/layout/HorizontalActionList"/>
    <dgm:cxn modelId="{E0DD4BB5-CFB0-4B99-82F9-E5EC3E63984A}" type="presParOf" srcId="{1DA80DB4-C173-450C-9E26-C58EB7745EFA}" destId="{05A40613-81C3-48CB-BCFF-712823C25D5C}" srcOrd="2" destOrd="0" presId="urn:microsoft.com/office/officeart/2016/7/layout/HorizontalActionList"/>
    <dgm:cxn modelId="{4027E124-6A59-48AD-BF7F-3322A4867C02}" type="presParOf" srcId="{05A40613-81C3-48CB-BCFF-712823C25D5C}" destId="{CB176A3C-8EDA-4426-8BC0-DC0499FD7D9C}" srcOrd="0" destOrd="0" presId="urn:microsoft.com/office/officeart/2016/7/layout/HorizontalActionList"/>
    <dgm:cxn modelId="{D11D7583-B669-41CB-8636-A9BC195B4A3D}" type="presParOf" srcId="{05A40613-81C3-48CB-BCFF-712823C25D5C}" destId="{9FBD2C98-77EC-4EF5-ABBC-8EEAB6DFD547}" srcOrd="1" destOrd="0" presId="urn:microsoft.com/office/officeart/2016/7/layout/HorizontalActionList"/>
    <dgm:cxn modelId="{30262E7D-08DB-47E7-A47F-F0904E6C6C19}" type="presParOf" srcId="{1DA80DB4-C173-450C-9E26-C58EB7745EFA}" destId="{CA7BB415-D776-4BC1-A1AF-9896B3F2C73D}" srcOrd="3" destOrd="0" presId="urn:microsoft.com/office/officeart/2016/7/layout/HorizontalActionList"/>
    <dgm:cxn modelId="{72FD7E91-EAE4-444D-9242-324CAE2A80C4}" type="presParOf" srcId="{1DA80DB4-C173-450C-9E26-C58EB7745EFA}" destId="{DE7E372D-601B-4698-ACA0-12E1637C624F}" srcOrd="4" destOrd="0" presId="urn:microsoft.com/office/officeart/2016/7/layout/HorizontalActionList"/>
    <dgm:cxn modelId="{BD6FC797-DF38-4975-8AA1-0F6E3AE02237}" type="presParOf" srcId="{DE7E372D-601B-4698-ACA0-12E1637C624F}" destId="{D9B67194-5530-4FC8-849F-DD9CEAA0C9F7}" srcOrd="0" destOrd="0" presId="urn:microsoft.com/office/officeart/2016/7/layout/HorizontalActionList"/>
    <dgm:cxn modelId="{E67010C6-C47F-45E9-8E07-B9F5FAD15653}" type="presParOf" srcId="{DE7E372D-601B-4698-ACA0-12E1637C624F}" destId="{EC21720D-5914-4599-A978-5AC169E0C5AE}" srcOrd="1" destOrd="0" presId="urn:microsoft.com/office/officeart/2016/7/layout/HorizontalActionList"/>
    <dgm:cxn modelId="{4A5FDBE7-6011-4B1C-88C6-5A242404613F}" type="presParOf" srcId="{1DA80DB4-C173-450C-9E26-C58EB7745EFA}" destId="{BE5F2AF7-8DAF-45AE-8904-CB73F271C3C0}" srcOrd="5" destOrd="0" presId="urn:microsoft.com/office/officeart/2016/7/layout/HorizontalActionList"/>
    <dgm:cxn modelId="{628B7578-EFEB-48D2-A554-0DC12675D015}" type="presParOf" srcId="{1DA80DB4-C173-450C-9E26-C58EB7745EFA}" destId="{E56667A9-F7A9-44AC-8F16-41362A53CAAD}" srcOrd="6" destOrd="0" presId="urn:microsoft.com/office/officeart/2016/7/layout/HorizontalActionList"/>
    <dgm:cxn modelId="{D5D1331F-9593-4C39-A9E9-441CCCA0941E}" type="presParOf" srcId="{E56667A9-F7A9-44AC-8F16-41362A53CAAD}" destId="{BBC3602B-7769-43F3-9CF1-369A6C668235}" srcOrd="0" destOrd="0" presId="urn:microsoft.com/office/officeart/2016/7/layout/HorizontalActionList"/>
    <dgm:cxn modelId="{3377702A-E644-43BC-B6B7-590DDCD69A5A}" type="presParOf" srcId="{E56667A9-F7A9-44AC-8F16-41362A53CAAD}" destId="{BA9A52FF-AF1B-4AE9-B136-6D8731D224F0}" srcOrd="1" destOrd="0" presId="urn:microsoft.com/office/officeart/2016/7/layout/HorizontalAc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FF37F33-0A82-4388-B334-0AB4CBAAAB89}" type="doc">
      <dgm:prSet loTypeId="urn:microsoft.com/office/officeart/2018/2/layout/IconLabelDescriptionList" loCatId="icon" qsTypeId="urn:microsoft.com/office/officeart/2005/8/quickstyle/simple1" qsCatId="simple" csTypeId="urn:microsoft.com/office/officeart/2005/8/colors/accent2_2" csCatId="accent2" phldr="1"/>
      <dgm:spPr/>
      <dgm:t>
        <a:bodyPr/>
        <a:lstStyle/>
        <a:p>
          <a:endParaRPr lang="en-US"/>
        </a:p>
      </dgm:t>
    </dgm:pt>
    <dgm:pt modelId="{26F01C6F-5B3D-4100-A87B-6F33F7394225}">
      <dgm:prSet/>
      <dgm:spPr/>
      <dgm:t>
        <a:bodyPr/>
        <a:lstStyle/>
        <a:p>
          <a:pPr>
            <a:lnSpc>
              <a:spcPct val="100000"/>
            </a:lnSpc>
            <a:defRPr b="1"/>
          </a:pPr>
          <a:r>
            <a:rPr lang="en-US" baseline="0"/>
            <a:t>Do not use CBQ</a:t>
          </a:r>
          <a:endParaRPr lang="en-US"/>
        </a:p>
      </dgm:t>
    </dgm:pt>
    <dgm:pt modelId="{2EDC8F64-A8DA-4E8A-AF9A-6CE4C288A6C6}" type="parTrans" cxnId="{6AAEDBDF-94BF-4F7D-9265-5AD509F73F2D}">
      <dgm:prSet/>
      <dgm:spPr/>
      <dgm:t>
        <a:bodyPr/>
        <a:lstStyle/>
        <a:p>
          <a:endParaRPr lang="en-US"/>
        </a:p>
      </dgm:t>
    </dgm:pt>
    <dgm:pt modelId="{136892BF-BE71-4C85-8328-EACA11672402}" type="sibTrans" cxnId="{6AAEDBDF-94BF-4F7D-9265-5AD509F73F2D}">
      <dgm:prSet/>
      <dgm:spPr/>
      <dgm:t>
        <a:bodyPr/>
        <a:lstStyle/>
        <a:p>
          <a:endParaRPr lang="en-US"/>
        </a:p>
      </dgm:t>
    </dgm:pt>
    <dgm:pt modelId="{D868F775-AB97-457D-B7AE-83BFF70CF0C0}">
      <dgm:prSet/>
      <dgm:spPr/>
      <dgm:t>
        <a:bodyPr/>
        <a:lstStyle/>
        <a:p>
          <a:pPr>
            <a:lnSpc>
              <a:spcPct val="100000"/>
            </a:lnSpc>
          </a:pPr>
          <a:r>
            <a:rPr lang="en-US" baseline="0"/>
            <a:t>Cross-list queries simply don’t scale! Content by Search (CBS) for classic publishing and the modern Content Rollup webparts are recommended alternatives.</a:t>
          </a:r>
          <a:endParaRPr lang="en-US"/>
        </a:p>
      </dgm:t>
    </dgm:pt>
    <dgm:pt modelId="{C60CDBBC-F794-455E-8E2B-3A62B66CAD64}" type="parTrans" cxnId="{90858D5D-021C-424B-AE43-D8993BD3280D}">
      <dgm:prSet/>
      <dgm:spPr/>
      <dgm:t>
        <a:bodyPr/>
        <a:lstStyle/>
        <a:p>
          <a:endParaRPr lang="en-US"/>
        </a:p>
      </dgm:t>
    </dgm:pt>
    <dgm:pt modelId="{84A1B7D5-8ACD-4C7D-968D-256F97A96E87}" type="sibTrans" cxnId="{90858D5D-021C-424B-AE43-D8993BD3280D}">
      <dgm:prSet/>
      <dgm:spPr/>
      <dgm:t>
        <a:bodyPr/>
        <a:lstStyle/>
        <a:p>
          <a:endParaRPr lang="en-US"/>
        </a:p>
      </dgm:t>
    </dgm:pt>
    <dgm:pt modelId="{BD926FC4-F124-4C60-B729-AFD5BA0C344E}">
      <dgm:prSet/>
      <dgm:spPr/>
      <dgm:t>
        <a:bodyPr/>
        <a:lstStyle/>
        <a:p>
          <a:pPr>
            <a:lnSpc>
              <a:spcPct val="100000"/>
            </a:lnSpc>
            <a:defRPr b="1"/>
          </a:pPr>
          <a:r>
            <a:rPr lang="en-US" baseline="0"/>
            <a:t>Beware of jank</a:t>
          </a:r>
          <a:endParaRPr lang="en-US"/>
        </a:p>
      </dgm:t>
    </dgm:pt>
    <dgm:pt modelId="{BEE48540-F828-4D7A-9ED0-70D1C82B59BB}" type="parTrans" cxnId="{1A8FDA31-960B-4A1C-A7A4-763B89217B99}">
      <dgm:prSet/>
      <dgm:spPr/>
      <dgm:t>
        <a:bodyPr/>
        <a:lstStyle/>
        <a:p>
          <a:endParaRPr lang="en-US"/>
        </a:p>
      </dgm:t>
    </dgm:pt>
    <dgm:pt modelId="{029BE9C5-C210-4950-996A-AF51D33B6744}" type="sibTrans" cxnId="{1A8FDA31-960B-4A1C-A7A4-763B89217B99}">
      <dgm:prSet/>
      <dgm:spPr/>
      <dgm:t>
        <a:bodyPr/>
        <a:lstStyle/>
        <a:p>
          <a:endParaRPr lang="en-US"/>
        </a:p>
      </dgm:t>
    </dgm:pt>
    <dgm:pt modelId="{48270812-C639-40B8-9BEA-89EF3D36916B}">
      <dgm:prSet/>
      <dgm:spPr/>
      <dgm:t>
        <a:bodyPr/>
        <a:lstStyle/>
        <a:p>
          <a:pPr>
            <a:lnSpc>
              <a:spcPct val="100000"/>
            </a:lnSpc>
          </a:pPr>
          <a:r>
            <a:rPr lang="en-US" baseline="0"/>
            <a:t>Be conscious of jank – rendering content late causing content shifting, redraw, flash of invisible text</a:t>
          </a:r>
          <a:endParaRPr lang="en-US"/>
        </a:p>
      </dgm:t>
    </dgm:pt>
    <dgm:pt modelId="{744FB342-4AEE-4D60-964C-C6D98482D5B5}" type="parTrans" cxnId="{8868C329-529B-4D3B-A85B-95F5AC2D96B5}">
      <dgm:prSet/>
      <dgm:spPr/>
      <dgm:t>
        <a:bodyPr/>
        <a:lstStyle/>
        <a:p>
          <a:endParaRPr lang="en-US"/>
        </a:p>
      </dgm:t>
    </dgm:pt>
    <dgm:pt modelId="{60E8BC85-B88C-49A7-A8A2-C25119C63845}" type="sibTrans" cxnId="{8868C329-529B-4D3B-A85B-95F5AC2D96B5}">
      <dgm:prSet/>
      <dgm:spPr/>
      <dgm:t>
        <a:bodyPr/>
        <a:lstStyle/>
        <a:p>
          <a:endParaRPr lang="en-US"/>
        </a:p>
      </dgm:t>
    </dgm:pt>
    <dgm:pt modelId="{A3BDB0B8-8B1C-4A30-91FD-FB4C32E39EB9}">
      <dgm:prSet/>
      <dgm:spPr/>
      <dgm:t>
        <a:bodyPr/>
        <a:lstStyle/>
        <a:p>
          <a:pPr>
            <a:lnSpc>
              <a:spcPct val="100000"/>
            </a:lnSpc>
            <a:defRPr b="1"/>
          </a:pPr>
          <a:r>
            <a:rPr lang="en-US" baseline="0"/>
            <a:t>Avoid iframe</a:t>
          </a:r>
          <a:endParaRPr lang="en-US"/>
        </a:p>
      </dgm:t>
    </dgm:pt>
    <dgm:pt modelId="{8CF8E9E2-4EAC-4112-89C0-B6751E47CFD9}" type="parTrans" cxnId="{AEA56516-39BA-4451-85DE-ED39CD277AD3}">
      <dgm:prSet/>
      <dgm:spPr/>
      <dgm:t>
        <a:bodyPr/>
        <a:lstStyle/>
        <a:p>
          <a:endParaRPr lang="en-US"/>
        </a:p>
      </dgm:t>
    </dgm:pt>
    <dgm:pt modelId="{19BF3154-6B39-4F74-8D6C-23F156EBC59C}" type="sibTrans" cxnId="{AEA56516-39BA-4451-85DE-ED39CD277AD3}">
      <dgm:prSet/>
      <dgm:spPr/>
      <dgm:t>
        <a:bodyPr/>
        <a:lstStyle/>
        <a:p>
          <a:endParaRPr lang="en-US"/>
        </a:p>
      </dgm:t>
    </dgm:pt>
    <dgm:pt modelId="{DE1F13D6-109C-483C-B616-482B545D8045}">
      <dgm:prSet/>
      <dgm:spPr/>
      <dgm:t>
        <a:bodyPr/>
        <a:lstStyle/>
        <a:p>
          <a:pPr>
            <a:lnSpc>
              <a:spcPct val="100000"/>
            </a:lnSpc>
          </a:pPr>
          <a:r>
            <a:rPr lang="en-US" baseline="0"/>
            <a:t>iframes incur a full separate connection and request lifecycle </a:t>
          </a:r>
          <a:endParaRPr lang="en-US"/>
        </a:p>
      </dgm:t>
    </dgm:pt>
    <dgm:pt modelId="{77CE1B20-5005-42A2-837B-E987799B7582}" type="parTrans" cxnId="{07338E12-A187-4FD8-A364-B265777AC427}">
      <dgm:prSet/>
      <dgm:spPr/>
      <dgm:t>
        <a:bodyPr/>
        <a:lstStyle/>
        <a:p>
          <a:endParaRPr lang="en-US"/>
        </a:p>
      </dgm:t>
    </dgm:pt>
    <dgm:pt modelId="{AD3F221F-4748-43B1-A7E8-8844D97694AB}" type="sibTrans" cxnId="{07338E12-A187-4FD8-A364-B265777AC427}">
      <dgm:prSet/>
      <dgm:spPr/>
      <dgm:t>
        <a:bodyPr/>
        <a:lstStyle/>
        <a:p>
          <a:endParaRPr lang="en-US"/>
        </a:p>
      </dgm:t>
    </dgm:pt>
    <dgm:pt modelId="{7698F832-5A41-47B3-88A0-A06A234FC414}">
      <dgm:prSet/>
      <dgm:spPr/>
      <dgm:t>
        <a:bodyPr/>
        <a:lstStyle/>
        <a:p>
          <a:pPr>
            <a:lnSpc>
              <a:spcPct val="100000"/>
            </a:lnSpc>
          </a:pPr>
          <a:r>
            <a:rPr lang="en-US" baseline="0"/>
            <a:t>Load potentially duplicative dependencies</a:t>
          </a:r>
          <a:endParaRPr lang="en-US"/>
        </a:p>
      </dgm:t>
    </dgm:pt>
    <dgm:pt modelId="{C5006DB1-FF3A-4916-9D46-185460B0F4F0}" type="parTrans" cxnId="{F01F1254-4F71-493F-A531-0CDEF34E4869}">
      <dgm:prSet/>
      <dgm:spPr/>
      <dgm:t>
        <a:bodyPr/>
        <a:lstStyle/>
        <a:p>
          <a:endParaRPr lang="en-US"/>
        </a:p>
      </dgm:t>
    </dgm:pt>
    <dgm:pt modelId="{6FE99EF9-992E-4D1D-939E-E82ED8109771}" type="sibTrans" cxnId="{F01F1254-4F71-493F-A531-0CDEF34E4869}">
      <dgm:prSet/>
      <dgm:spPr/>
      <dgm:t>
        <a:bodyPr/>
        <a:lstStyle/>
        <a:p>
          <a:endParaRPr lang="en-US"/>
        </a:p>
      </dgm:t>
    </dgm:pt>
    <dgm:pt modelId="{EF9D8F58-BD35-4649-B3F8-918246FA0400}">
      <dgm:prSet/>
      <dgm:spPr/>
      <dgm:t>
        <a:bodyPr/>
        <a:lstStyle/>
        <a:p>
          <a:pPr>
            <a:lnSpc>
              <a:spcPct val="100000"/>
            </a:lnSpc>
          </a:pPr>
          <a:r>
            <a:rPr lang="en-US" baseline="0"/>
            <a:t>Cost extra memory, </a:t>
          </a:r>
          <a:endParaRPr lang="en-US"/>
        </a:p>
      </dgm:t>
    </dgm:pt>
    <dgm:pt modelId="{C85B8C16-E3B4-4242-AC8B-E64DBEDEDD53}" type="parTrans" cxnId="{062EAFA1-EECB-4F25-B68F-E1EF6834BF1E}">
      <dgm:prSet/>
      <dgm:spPr/>
      <dgm:t>
        <a:bodyPr/>
        <a:lstStyle/>
        <a:p>
          <a:endParaRPr lang="en-US"/>
        </a:p>
      </dgm:t>
    </dgm:pt>
    <dgm:pt modelId="{4C6FD315-6AB0-4AB3-8BE2-97509F79AB77}" type="sibTrans" cxnId="{062EAFA1-EECB-4F25-B68F-E1EF6834BF1E}">
      <dgm:prSet/>
      <dgm:spPr/>
      <dgm:t>
        <a:bodyPr/>
        <a:lstStyle/>
        <a:p>
          <a:endParaRPr lang="en-US"/>
        </a:p>
      </dgm:t>
    </dgm:pt>
    <dgm:pt modelId="{1E73137D-973B-4570-9F4F-4C2D456D6330}">
      <dgm:prSet/>
      <dgm:spPr/>
      <dgm:t>
        <a:bodyPr/>
        <a:lstStyle/>
        <a:p>
          <a:pPr>
            <a:lnSpc>
              <a:spcPct val="100000"/>
            </a:lnSpc>
          </a:pPr>
          <a:r>
            <a:rPr lang="en-US" baseline="0"/>
            <a:t>Don’t work well on mobile devices.</a:t>
          </a:r>
          <a:endParaRPr lang="en-US"/>
        </a:p>
      </dgm:t>
    </dgm:pt>
    <dgm:pt modelId="{5091CA13-8498-4907-953F-2DB6CD9DDC54}" type="parTrans" cxnId="{CEFB5055-DB7B-42BE-8265-EBA85ABAE1E7}">
      <dgm:prSet/>
      <dgm:spPr/>
      <dgm:t>
        <a:bodyPr/>
        <a:lstStyle/>
        <a:p>
          <a:endParaRPr lang="en-US"/>
        </a:p>
      </dgm:t>
    </dgm:pt>
    <dgm:pt modelId="{C21ADFDD-FEB2-43DE-96E7-9F1AB47CA3A1}" type="sibTrans" cxnId="{CEFB5055-DB7B-42BE-8265-EBA85ABAE1E7}">
      <dgm:prSet/>
      <dgm:spPr/>
      <dgm:t>
        <a:bodyPr/>
        <a:lstStyle/>
        <a:p>
          <a:endParaRPr lang="en-US"/>
        </a:p>
      </dgm:t>
    </dgm:pt>
    <dgm:pt modelId="{F28296A6-69C0-4036-BD81-EAC230C8E90C}">
      <dgm:prSet/>
      <dgm:spPr/>
      <dgm:t>
        <a:bodyPr/>
        <a:lstStyle/>
        <a:p>
          <a:pPr>
            <a:lnSpc>
              <a:spcPct val="100000"/>
            </a:lnSpc>
          </a:pPr>
          <a:r>
            <a:rPr lang="en-US" baseline="0"/>
            <a:t>Limited iframe usage may be unavoidable, so defer load if possible</a:t>
          </a:r>
          <a:endParaRPr lang="en-US"/>
        </a:p>
      </dgm:t>
    </dgm:pt>
    <dgm:pt modelId="{2743859B-2EA8-4D47-B7D8-681854A781FA}" type="parTrans" cxnId="{3D8A90E1-CD8F-415C-A2E4-F60359C39D35}">
      <dgm:prSet/>
      <dgm:spPr/>
      <dgm:t>
        <a:bodyPr/>
        <a:lstStyle/>
        <a:p>
          <a:endParaRPr lang="en-US"/>
        </a:p>
      </dgm:t>
    </dgm:pt>
    <dgm:pt modelId="{900CF024-CF67-45D9-9658-B49924C83E5D}" type="sibTrans" cxnId="{3D8A90E1-CD8F-415C-A2E4-F60359C39D35}">
      <dgm:prSet/>
      <dgm:spPr/>
      <dgm:t>
        <a:bodyPr/>
        <a:lstStyle/>
        <a:p>
          <a:endParaRPr lang="en-US"/>
        </a:p>
      </dgm:t>
    </dgm:pt>
    <dgm:pt modelId="{7DA71E82-DB0A-40E2-AA85-86E5D100D243}">
      <dgm:prSet/>
      <dgm:spPr/>
      <dgm:t>
        <a:bodyPr/>
        <a:lstStyle/>
        <a:p>
          <a:pPr>
            <a:lnSpc>
              <a:spcPct val="100000"/>
            </a:lnSpc>
            <a:defRPr b="1"/>
          </a:pPr>
          <a:r>
            <a:rPr lang="en-US" baseline="0"/>
            <a:t>Don’t do load testing</a:t>
          </a:r>
          <a:endParaRPr lang="en-US"/>
        </a:p>
      </dgm:t>
    </dgm:pt>
    <dgm:pt modelId="{904100CD-905A-4F65-8D50-2703E48B2B40}" type="parTrans" cxnId="{9A3286D3-BBBE-4814-956F-5FFE97F84C74}">
      <dgm:prSet/>
      <dgm:spPr/>
      <dgm:t>
        <a:bodyPr/>
        <a:lstStyle/>
        <a:p>
          <a:endParaRPr lang="en-US"/>
        </a:p>
      </dgm:t>
    </dgm:pt>
    <dgm:pt modelId="{D2CF5A50-16F5-4A3F-B77F-192E60C5357B}" type="sibTrans" cxnId="{9A3286D3-BBBE-4814-956F-5FFE97F84C74}">
      <dgm:prSet/>
      <dgm:spPr/>
      <dgm:t>
        <a:bodyPr/>
        <a:lstStyle/>
        <a:p>
          <a:endParaRPr lang="en-US"/>
        </a:p>
      </dgm:t>
    </dgm:pt>
    <dgm:pt modelId="{1911874F-A44B-4958-9CDE-33B515B694C9}">
      <dgm:prSet/>
      <dgm:spPr/>
      <dgm:t>
        <a:bodyPr/>
        <a:lstStyle/>
        <a:p>
          <a:pPr>
            <a:lnSpc>
              <a:spcPct val="100000"/>
            </a:lnSpc>
          </a:pPr>
          <a:r>
            <a:rPr lang="en-US" baseline="0"/>
            <a:t>SharePoint Online is designed to dynamically rebalance as load increases. It is designed to throttle outlier load spikes to protect tenants from each other and from themselves (e.g. runaway custom code).</a:t>
          </a:r>
          <a:endParaRPr lang="en-US"/>
        </a:p>
      </dgm:t>
    </dgm:pt>
    <dgm:pt modelId="{EFB02594-8A0C-4F1D-BA13-144D1C1F46EF}" type="parTrans" cxnId="{A8AB348D-C6D2-4D58-905B-0BAE60E87135}">
      <dgm:prSet/>
      <dgm:spPr/>
      <dgm:t>
        <a:bodyPr/>
        <a:lstStyle/>
        <a:p>
          <a:endParaRPr lang="en-US"/>
        </a:p>
      </dgm:t>
    </dgm:pt>
    <dgm:pt modelId="{2B8E2DB2-77C9-4758-9BB4-4752319E90A5}" type="sibTrans" cxnId="{A8AB348D-C6D2-4D58-905B-0BAE60E87135}">
      <dgm:prSet/>
      <dgm:spPr/>
      <dgm:t>
        <a:bodyPr/>
        <a:lstStyle/>
        <a:p>
          <a:endParaRPr lang="en-US"/>
        </a:p>
      </dgm:t>
    </dgm:pt>
    <dgm:pt modelId="{2FB8C398-C503-4550-B447-7485C0C5572A}">
      <dgm:prSet/>
      <dgm:spPr/>
      <dgm:t>
        <a:bodyPr/>
        <a:lstStyle/>
        <a:p>
          <a:pPr>
            <a:lnSpc>
              <a:spcPct val="100000"/>
            </a:lnSpc>
          </a:pPr>
          <a:r>
            <a:rPr lang="en-US" baseline="0"/>
            <a:t>Load testing is futile…it looks like runaway code! Follow portal launch best practices instead.</a:t>
          </a:r>
          <a:endParaRPr lang="en-US"/>
        </a:p>
      </dgm:t>
    </dgm:pt>
    <dgm:pt modelId="{6E895F35-3C06-468A-B51E-480D5BEBABAB}" type="parTrans" cxnId="{E68910EB-BF2B-4D6A-B24A-1932E214ABA2}">
      <dgm:prSet/>
      <dgm:spPr/>
      <dgm:t>
        <a:bodyPr/>
        <a:lstStyle/>
        <a:p>
          <a:endParaRPr lang="en-US"/>
        </a:p>
      </dgm:t>
    </dgm:pt>
    <dgm:pt modelId="{015F3D2F-83A1-4741-85F0-8ECB257DDFB3}" type="sibTrans" cxnId="{E68910EB-BF2B-4D6A-B24A-1932E214ABA2}">
      <dgm:prSet/>
      <dgm:spPr/>
      <dgm:t>
        <a:bodyPr/>
        <a:lstStyle/>
        <a:p>
          <a:endParaRPr lang="en-US"/>
        </a:p>
      </dgm:t>
    </dgm:pt>
    <dgm:pt modelId="{4B5D1625-6874-416A-BC79-647F10CFEA8B}" type="pres">
      <dgm:prSet presAssocID="{FFF37F33-0A82-4388-B334-0AB4CBAAAB89}" presName="root" presStyleCnt="0">
        <dgm:presLayoutVars>
          <dgm:dir/>
          <dgm:resizeHandles val="exact"/>
        </dgm:presLayoutVars>
      </dgm:prSet>
      <dgm:spPr/>
    </dgm:pt>
    <dgm:pt modelId="{4282DD9E-C39E-4244-9DDF-3073C2013834}" type="pres">
      <dgm:prSet presAssocID="{26F01C6F-5B3D-4100-A87B-6F33F7394225}" presName="compNode" presStyleCnt="0"/>
      <dgm:spPr/>
    </dgm:pt>
    <dgm:pt modelId="{647ECB7C-6D59-44F4-8BE8-936116973244}" type="pres">
      <dgm:prSet presAssocID="{26F01C6F-5B3D-4100-A87B-6F33F7394225}"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Newspaper"/>
        </a:ext>
      </dgm:extLst>
    </dgm:pt>
    <dgm:pt modelId="{F087A100-991E-4592-812F-5BDE8CF93A78}" type="pres">
      <dgm:prSet presAssocID="{26F01C6F-5B3D-4100-A87B-6F33F7394225}" presName="iconSpace" presStyleCnt="0"/>
      <dgm:spPr/>
    </dgm:pt>
    <dgm:pt modelId="{CB52941E-E913-4899-9259-BE5040CF17F9}" type="pres">
      <dgm:prSet presAssocID="{26F01C6F-5B3D-4100-A87B-6F33F7394225}" presName="parTx" presStyleLbl="revTx" presStyleIdx="0" presStyleCnt="8">
        <dgm:presLayoutVars>
          <dgm:chMax val="0"/>
          <dgm:chPref val="0"/>
        </dgm:presLayoutVars>
      </dgm:prSet>
      <dgm:spPr/>
    </dgm:pt>
    <dgm:pt modelId="{78B6C76A-687F-456A-90C4-AF3A74A372CA}" type="pres">
      <dgm:prSet presAssocID="{26F01C6F-5B3D-4100-A87B-6F33F7394225}" presName="txSpace" presStyleCnt="0"/>
      <dgm:spPr/>
    </dgm:pt>
    <dgm:pt modelId="{B0ACD81C-3F84-49D9-8F98-433784132377}" type="pres">
      <dgm:prSet presAssocID="{26F01C6F-5B3D-4100-A87B-6F33F7394225}" presName="desTx" presStyleLbl="revTx" presStyleIdx="1" presStyleCnt="8">
        <dgm:presLayoutVars/>
      </dgm:prSet>
      <dgm:spPr/>
    </dgm:pt>
    <dgm:pt modelId="{FCB56C30-4ED4-45F1-BCDA-BB5D7F3806D7}" type="pres">
      <dgm:prSet presAssocID="{136892BF-BE71-4C85-8328-EACA11672402}" presName="sibTrans" presStyleCnt="0"/>
      <dgm:spPr/>
    </dgm:pt>
    <dgm:pt modelId="{59687BCF-D01F-475C-8293-45D71F1AB055}" type="pres">
      <dgm:prSet presAssocID="{BD926FC4-F124-4C60-B729-AFD5BA0C344E}" presName="compNode" presStyleCnt="0"/>
      <dgm:spPr/>
    </dgm:pt>
    <dgm:pt modelId="{D3DB0228-269A-4F9C-B068-D16061EA8D7B}" type="pres">
      <dgm:prSet presAssocID="{BD926FC4-F124-4C60-B729-AFD5BA0C344E}"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Subtitles"/>
        </a:ext>
      </dgm:extLst>
    </dgm:pt>
    <dgm:pt modelId="{7DF9FF05-6ADC-4902-AAFA-A6F108D80182}" type="pres">
      <dgm:prSet presAssocID="{BD926FC4-F124-4C60-B729-AFD5BA0C344E}" presName="iconSpace" presStyleCnt="0"/>
      <dgm:spPr/>
    </dgm:pt>
    <dgm:pt modelId="{E1F78972-A865-4C3D-97CD-B1840D5066B5}" type="pres">
      <dgm:prSet presAssocID="{BD926FC4-F124-4C60-B729-AFD5BA0C344E}" presName="parTx" presStyleLbl="revTx" presStyleIdx="2" presStyleCnt="8">
        <dgm:presLayoutVars>
          <dgm:chMax val="0"/>
          <dgm:chPref val="0"/>
        </dgm:presLayoutVars>
      </dgm:prSet>
      <dgm:spPr/>
    </dgm:pt>
    <dgm:pt modelId="{DB7ED22A-6378-4BAD-9CCF-86BB228D671D}" type="pres">
      <dgm:prSet presAssocID="{BD926FC4-F124-4C60-B729-AFD5BA0C344E}" presName="txSpace" presStyleCnt="0"/>
      <dgm:spPr/>
    </dgm:pt>
    <dgm:pt modelId="{DDF11F2D-9609-4396-8199-7FFCE2FF0C62}" type="pres">
      <dgm:prSet presAssocID="{BD926FC4-F124-4C60-B729-AFD5BA0C344E}" presName="desTx" presStyleLbl="revTx" presStyleIdx="3" presStyleCnt="8">
        <dgm:presLayoutVars/>
      </dgm:prSet>
      <dgm:spPr/>
    </dgm:pt>
    <dgm:pt modelId="{080E33A0-6CB6-4E25-8164-C012018592FC}" type="pres">
      <dgm:prSet presAssocID="{029BE9C5-C210-4950-996A-AF51D33B6744}" presName="sibTrans" presStyleCnt="0"/>
      <dgm:spPr/>
    </dgm:pt>
    <dgm:pt modelId="{03AE95D2-5CEE-4E77-9608-9EE9F9BEE86B}" type="pres">
      <dgm:prSet presAssocID="{A3BDB0B8-8B1C-4A30-91FD-FB4C32E39EB9}" presName="compNode" presStyleCnt="0"/>
      <dgm:spPr/>
    </dgm:pt>
    <dgm:pt modelId="{1FF9FFBE-AA54-4981-8F19-D8F346DA2F99}" type="pres">
      <dgm:prSet presAssocID="{A3BDB0B8-8B1C-4A30-91FD-FB4C32E39EB9}"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Disconnected"/>
        </a:ext>
      </dgm:extLst>
    </dgm:pt>
    <dgm:pt modelId="{0096468C-A310-4621-B587-7F626B6D9F50}" type="pres">
      <dgm:prSet presAssocID="{A3BDB0B8-8B1C-4A30-91FD-FB4C32E39EB9}" presName="iconSpace" presStyleCnt="0"/>
      <dgm:spPr/>
    </dgm:pt>
    <dgm:pt modelId="{BC796432-083B-41FC-93A8-E9A787DD6B2B}" type="pres">
      <dgm:prSet presAssocID="{A3BDB0B8-8B1C-4A30-91FD-FB4C32E39EB9}" presName="parTx" presStyleLbl="revTx" presStyleIdx="4" presStyleCnt="8">
        <dgm:presLayoutVars>
          <dgm:chMax val="0"/>
          <dgm:chPref val="0"/>
        </dgm:presLayoutVars>
      </dgm:prSet>
      <dgm:spPr/>
    </dgm:pt>
    <dgm:pt modelId="{C52D1A59-9A3A-4F84-8CD9-09B9E2F36D28}" type="pres">
      <dgm:prSet presAssocID="{A3BDB0B8-8B1C-4A30-91FD-FB4C32E39EB9}" presName="txSpace" presStyleCnt="0"/>
      <dgm:spPr/>
    </dgm:pt>
    <dgm:pt modelId="{F465CFD9-F91D-448A-B19D-829E45314153}" type="pres">
      <dgm:prSet presAssocID="{A3BDB0B8-8B1C-4A30-91FD-FB4C32E39EB9}" presName="desTx" presStyleLbl="revTx" presStyleIdx="5" presStyleCnt="8">
        <dgm:presLayoutVars/>
      </dgm:prSet>
      <dgm:spPr/>
    </dgm:pt>
    <dgm:pt modelId="{B8FEFC5B-E1EB-4731-B1FD-9BA3B43BA7CB}" type="pres">
      <dgm:prSet presAssocID="{19BF3154-6B39-4F74-8D6C-23F156EBC59C}" presName="sibTrans" presStyleCnt="0"/>
      <dgm:spPr/>
    </dgm:pt>
    <dgm:pt modelId="{5F01A02A-6253-4C26-BF61-965BBDC428CB}" type="pres">
      <dgm:prSet presAssocID="{7DA71E82-DB0A-40E2-AA85-86E5D100D243}" presName="compNode" presStyleCnt="0"/>
      <dgm:spPr/>
    </dgm:pt>
    <dgm:pt modelId="{139F1EA8-55E0-413D-8666-E933AB7B1D2B}" type="pres">
      <dgm:prSet presAssocID="{7DA71E82-DB0A-40E2-AA85-86E5D100D243}"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Statistics"/>
        </a:ext>
      </dgm:extLst>
    </dgm:pt>
    <dgm:pt modelId="{B4150CEF-43C5-4C69-A04F-C321D773141F}" type="pres">
      <dgm:prSet presAssocID="{7DA71E82-DB0A-40E2-AA85-86E5D100D243}" presName="iconSpace" presStyleCnt="0"/>
      <dgm:spPr/>
    </dgm:pt>
    <dgm:pt modelId="{B102A5AE-9F47-45BA-9DB9-D0FAF5E643C8}" type="pres">
      <dgm:prSet presAssocID="{7DA71E82-DB0A-40E2-AA85-86E5D100D243}" presName="parTx" presStyleLbl="revTx" presStyleIdx="6" presStyleCnt="8">
        <dgm:presLayoutVars>
          <dgm:chMax val="0"/>
          <dgm:chPref val="0"/>
        </dgm:presLayoutVars>
      </dgm:prSet>
      <dgm:spPr/>
    </dgm:pt>
    <dgm:pt modelId="{1C797252-1DBD-4C11-A52A-5A0B9CEAB9D5}" type="pres">
      <dgm:prSet presAssocID="{7DA71E82-DB0A-40E2-AA85-86E5D100D243}" presName="txSpace" presStyleCnt="0"/>
      <dgm:spPr/>
    </dgm:pt>
    <dgm:pt modelId="{70AF8628-34A3-4617-AA6F-40BC1B011902}" type="pres">
      <dgm:prSet presAssocID="{7DA71E82-DB0A-40E2-AA85-86E5D100D243}" presName="desTx" presStyleLbl="revTx" presStyleIdx="7" presStyleCnt="8">
        <dgm:presLayoutVars/>
      </dgm:prSet>
      <dgm:spPr/>
    </dgm:pt>
  </dgm:ptLst>
  <dgm:cxnLst>
    <dgm:cxn modelId="{A404DA0B-E1F2-4486-A37A-F567BA0C4AF2}" type="presOf" srcId="{26F01C6F-5B3D-4100-A87B-6F33F7394225}" destId="{CB52941E-E913-4899-9259-BE5040CF17F9}" srcOrd="0" destOrd="0" presId="urn:microsoft.com/office/officeart/2018/2/layout/IconLabelDescriptionList"/>
    <dgm:cxn modelId="{07338E12-A187-4FD8-A364-B265777AC427}" srcId="{A3BDB0B8-8B1C-4A30-91FD-FB4C32E39EB9}" destId="{DE1F13D6-109C-483C-B616-482B545D8045}" srcOrd="0" destOrd="0" parTransId="{77CE1B20-5005-42A2-837B-E987799B7582}" sibTransId="{AD3F221F-4748-43B1-A7E8-8844D97694AB}"/>
    <dgm:cxn modelId="{22925F15-249F-4706-857C-D07D43566B34}" type="presOf" srcId="{7DA71E82-DB0A-40E2-AA85-86E5D100D243}" destId="{B102A5AE-9F47-45BA-9DB9-D0FAF5E643C8}" srcOrd="0" destOrd="0" presId="urn:microsoft.com/office/officeart/2018/2/layout/IconLabelDescriptionList"/>
    <dgm:cxn modelId="{AEA56516-39BA-4451-85DE-ED39CD277AD3}" srcId="{FFF37F33-0A82-4388-B334-0AB4CBAAAB89}" destId="{A3BDB0B8-8B1C-4A30-91FD-FB4C32E39EB9}" srcOrd="2" destOrd="0" parTransId="{8CF8E9E2-4EAC-4112-89C0-B6751E47CFD9}" sibTransId="{19BF3154-6B39-4F74-8D6C-23F156EBC59C}"/>
    <dgm:cxn modelId="{1C98EE19-D08E-4772-A740-F7606196B5DA}" type="presOf" srcId="{BD926FC4-F124-4C60-B729-AFD5BA0C344E}" destId="{E1F78972-A865-4C3D-97CD-B1840D5066B5}" srcOrd="0" destOrd="0" presId="urn:microsoft.com/office/officeart/2018/2/layout/IconLabelDescriptionList"/>
    <dgm:cxn modelId="{8868C329-529B-4D3B-A85B-95F5AC2D96B5}" srcId="{BD926FC4-F124-4C60-B729-AFD5BA0C344E}" destId="{48270812-C639-40B8-9BEA-89EF3D36916B}" srcOrd="0" destOrd="0" parTransId="{744FB342-4AEE-4D60-964C-C6D98482D5B5}" sibTransId="{60E8BC85-B88C-49A7-A8A2-C25119C63845}"/>
    <dgm:cxn modelId="{1A8FDA31-960B-4A1C-A7A4-763B89217B99}" srcId="{FFF37F33-0A82-4388-B334-0AB4CBAAAB89}" destId="{BD926FC4-F124-4C60-B729-AFD5BA0C344E}" srcOrd="1" destOrd="0" parTransId="{BEE48540-F828-4D7A-9ED0-70D1C82B59BB}" sibTransId="{029BE9C5-C210-4950-996A-AF51D33B6744}"/>
    <dgm:cxn modelId="{90858D5D-021C-424B-AE43-D8993BD3280D}" srcId="{26F01C6F-5B3D-4100-A87B-6F33F7394225}" destId="{D868F775-AB97-457D-B7AE-83BFF70CF0C0}" srcOrd="0" destOrd="0" parTransId="{C60CDBBC-F794-455E-8E2B-3A62B66CAD64}" sibTransId="{84A1B7D5-8ACD-4C7D-968D-256F97A96E87}"/>
    <dgm:cxn modelId="{19F72165-4FF8-4D99-A4C9-02049D4C1C89}" type="presOf" srcId="{7698F832-5A41-47B3-88A0-A06A234FC414}" destId="{F465CFD9-F91D-448A-B19D-829E45314153}" srcOrd="0" destOrd="1" presId="urn:microsoft.com/office/officeart/2018/2/layout/IconLabelDescriptionList"/>
    <dgm:cxn modelId="{9F926E66-57A1-4DD2-803B-9DF935F825EE}" type="presOf" srcId="{DE1F13D6-109C-483C-B616-482B545D8045}" destId="{F465CFD9-F91D-448A-B19D-829E45314153}" srcOrd="0" destOrd="0" presId="urn:microsoft.com/office/officeart/2018/2/layout/IconLabelDescriptionList"/>
    <dgm:cxn modelId="{7DCB1168-EF41-4746-868E-03F49408EB96}" type="presOf" srcId="{FFF37F33-0A82-4388-B334-0AB4CBAAAB89}" destId="{4B5D1625-6874-416A-BC79-647F10CFEA8B}" srcOrd="0" destOrd="0" presId="urn:microsoft.com/office/officeart/2018/2/layout/IconLabelDescriptionList"/>
    <dgm:cxn modelId="{976B6A53-94C1-43A5-A237-F93F7ECCD6CA}" type="presOf" srcId="{F28296A6-69C0-4036-BD81-EAC230C8E90C}" destId="{F465CFD9-F91D-448A-B19D-829E45314153}" srcOrd="0" destOrd="4" presId="urn:microsoft.com/office/officeart/2018/2/layout/IconLabelDescriptionList"/>
    <dgm:cxn modelId="{F01F1254-4F71-493F-A531-0CDEF34E4869}" srcId="{A3BDB0B8-8B1C-4A30-91FD-FB4C32E39EB9}" destId="{7698F832-5A41-47B3-88A0-A06A234FC414}" srcOrd="1" destOrd="0" parTransId="{C5006DB1-FF3A-4916-9D46-185460B0F4F0}" sibTransId="{6FE99EF9-992E-4D1D-939E-E82ED8109771}"/>
    <dgm:cxn modelId="{CEFB5055-DB7B-42BE-8265-EBA85ABAE1E7}" srcId="{A3BDB0B8-8B1C-4A30-91FD-FB4C32E39EB9}" destId="{1E73137D-973B-4570-9F4F-4C2D456D6330}" srcOrd="3" destOrd="0" parTransId="{5091CA13-8498-4907-953F-2DB6CD9DDC54}" sibTransId="{C21ADFDD-FEB2-43DE-96E7-9F1AB47CA3A1}"/>
    <dgm:cxn modelId="{9E696D77-B4D8-4B8E-A489-1D88BB213671}" type="presOf" srcId="{D868F775-AB97-457D-B7AE-83BFF70CF0C0}" destId="{B0ACD81C-3F84-49D9-8F98-433784132377}" srcOrd="0" destOrd="0" presId="urn:microsoft.com/office/officeart/2018/2/layout/IconLabelDescriptionList"/>
    <dgm:cxn modelId="{63C3585A-64EE-4AA2-AD5F-E6A4EA4E5B79}" type="presOf" srcId="{2FB8C398-C503-4550-B447-7485C0C5572A}" destId="{70AF8628-34A3-4617-AA6F-40BC1B011902}" srcOrd="0" destOrd="1" presId="urn:microsoft.com/office/officeart/2018/2/layout/IconLabelDescriptionList"/>
    <dgm:cxn modelId="{5C297885-A9FC-4112-8CBA-9FCC054D3D10}" type="presOf" srcId="{48270812-C639-40B8-9BEA-89EF3D36916B}" destId="{DDF11F2D-9609-4396-8199-7FFCE2FF0C62}" srcOrd="0" destOrd="0" presId="urn:microsoft.com/office/officeart/2018/2/layout/IconLabelDescriptionList"/>
    <dgm:cxn modelId="{14158C85-E681-4113-82EE-2EB711059728}" type="presOf" srcId="{1911874F-A44B-4958-9CDE-33B515B694C9}" destId="{70AF8628-34A3-4617-AA6F-40BC1B011902}" srcOrd="0" destOrd="0" presId="urn:microsoft.com/office/officeart/2018/2/layout/IconLabelDescriptionList"/>
    <dgm:cxn modelId="{A8AB348D-C6D2-4D58-905B-0BAE60E87135}" srcId="{7DA71E82-DB0A-40E2-AA85-86E5D100D243}" destId="{1911874F-A44B-4958-9CDE-33B515B694C9}" srcOrd="0" destOrd="0" parTransId="{EFB02594-8A0C-4F1D-BA13-144D1C1F46EF}" sibTransId="{2B8E2DB2-77C9-4758-9BB4-4752319E90A5}"/>
    <dgm:cxn modelId="{062EAFA1-EECB-4F25-B68F-E1EF6834BF1E}" srcId="{A3BDB0B8-8B1C-4A30-91FD-FB4C32E39EB9}" destId="{EF9D8F58-BD35-4649-B3F8-918246FA0400}" srcOrd="2" destOrd="0" parTransId="{C85B8C16-E3B4-4242-AC8B-E64DBEDEDD53}" sibTransId="{4C6FD315-6AB0-4AB3-8BE2-97509F79AB77}"/>
    <dgm:cxn modelId="{8147F5B2-004C-4DC8-A8CC-160508444D4A}" type="presOf" srcId="{1E73137D-973B-4570-9F4F-4C2D456D6330}" destId="{F465CFD9-F91D-448A-B19D-829E45314153}" srcOrd="0" destOrd="3" presId="urn:microsoft.com/office/officeart/2018/2/layout/IconLabelDescriptionList"/>
    <dgm:cxn modelId="{9A3286D3-BBBE-4814-956F-5FFE97F84C74}" srcId="{FFF37F33-0A82-4388-B334-0AB4CBAAAB89}" destId="{7DA71E82-DB0A-40E2-AA85-86E5D100D243}" srcOrd="3" destOrd="0" parTransId="{904100CD-905A-4F65-8D50-2703E48B2B40}" sibTransId="{D2CF5A50-16F5-4A3F-B77F-192E60C5357B}"/>
    <dgm:cxn modelId="{6AAEDBDF-94BF-4F7D-9265-5AD509F73F2D}" srcId="{FFF37F33-0A82-4388-B334-0AB4CBAAAB89}" destId="{26F01C6F-5B3D-4100-A87B-6F33F7394225}" srcOrd="0" destOrd="0" parTransId="{2EDC8F64-A8DA-4E8A-AF9A-6CE4C288A6C6}" sibTransId="{136892BF-BE71-4C85-8328-EACA11672402}"/>
    <dgm:cxn modelId="{3D8A90E1-CD8F-415C-A2E4-F60359C39D35}" srcId="{A3BDB0B8-8B1C-4A30-91FD-FB4C32E39EB9}" destId="{F28296A6-69C0-4036-BD81-EAC230C8E90C}" srcOrd="4" destOrd="0" parTransId="{2743859B-2EA8-4D47-B7D8-681854A781FA}" sibTransId="{900CF024-CF67-45D9-9658-B49924C83E5D}"/>
    <dgm:cxn modelId="{E68910EB-BF2B-4D6A-B24A-1932E214ABA2}" srcId="{7DA71E82-DB0A-40E2-AA85-86E5D100D243}" destId="{2FB8C398-C503-4550-B447-7485C0C5572A}" srcOrd="1" destOrd="0" parTransId="{6E895F35-3C06-468A-B51E-480D5BEBABAB}" sibTransId="{015F3D2F-83A1-4741-85F0-8ECB257DDFB3}"/>
    <dgm:cxn modelId="{87D320F5-3D84-4DAD-9A91-406E4BBC1B10}" type="presOf" srcId="{A3BDB0B8-8B1C-4A30-91FD-FB4C32E39EB9}" destId="{BC796432-083B-41FC-93A8-E9A787DD6B2B}" srcOrd="0" destOrd="0" presId="urn:microsoft.com/office/officeart/2018/2/layout/IconLabelDescriptionList"/>
    <dgm:cxn modelId="{D37E02FD-B7E9-4E8F-A512-5ED4C79CAB42}" type="presOf" srcId="{EF9D8F58-BD35-4649-B3F8-918246FA0400}" destId="{F465CFD9-F91D-448A-B19D-829E45314153}" srcOrd="0" destOrd="2" presId="urn:microsoft.com/office/officeart/2018/2/layout/IconLabelDescriptionList"/>
    <dgm:cxn modelId="{2E3FC7A7-2D5B-4C92-B323-F093C91C0FA2}" type="presParOf" srcId="{4B5D1625-6874-416A-BC79-647F10CFEA8B}" destId="{4282DD9E-C39E-4244-9DDF-3073C2013834}" srcOrd="0" destOrd="0" presId="urn:microsoft.com/office/officeart/2018/2/layout/IconLabelDescriptionList"/>
    <dgm:cxn modelId="{9E7FB5C1-13BA-40A3-B2A0-7E4BD4B6272F}" type="presParOf" srcId="{4282DD9E-C39E-4244-9DDF-3073C2013834}" destId="{647ECB7C-6D59-44F4-8BE8-936116973244}" srcOrd="0" destOrd="0" presId="urn:microsoft.com/office/officeart/2018/2/layout/IconLabelDescriptionList"/>
    <dgm:cxn modelId="{70A691A2-5945-439B-B008-48EA6B8B8EF4}" type="presParOf" srcId="{4282DD9E-C39E-4244-9DDF-3073C2013834}" destId="{F087A100-991E-4592-812F-5BDE8CF93A78}" srcOrd="1" destOrd="0" presId="urn:microsoft.com/office/officeart/2018/2/layout/IconLabelDescriptionList"/>
    <dgm:cxn modelId="{D393A09D-6FEE-446F-A7D2-82EF76D2B66B}" type="presParOf" srcId="{4282DD9E-C39E-4244-9DDF-3073C2013834}" destId="{CB52941E-E913-4899-9259-BE5040CF17F9}" srcOrd="2" destOrd="0" presId="urn:microsoft.com/office/officeart/2018/2/layout/IconLabelDescriptionList"/>
    <dgm:cxn modelId="{04EB16C2-AAB8-45EC-9595-51E8AB3763FE}" type="presParOf" srcId="{4282DD9E-C39E-4244-9DDF-3073C2013834}" destId="{78B6C76A-687F-456A-90C4-AF3A74A372CA}" srcOrd="3" destOrd="0" presId="urn:microsoft.com/office/officeart/2018/2/layout/IconLabelDescriptionList"/>
    <dgm:cxn modelId="{E523615B-42B3-4A08-A166-7CA69ACB6737}" type="presParOf" srcId="{4282DD9E-C39E-4244-9DDF-3073C2013834}" destId="{B0ACD81C-3F84-49D9-8F98-433784132377}" srcOrd="4" destOrd="0" presId="urn:microsoft.com/office/officeart/2018/2/layout/IconLabelDescriptionList"/>
    <dgm:cxn modelId="{CD7E63D5-B5F2-43E7-9DED-C8F67C07B5BC}" type="presParOf" srcId="{4B5D1625-6874-416A-BC79-647F10CFEA8B}" destId="{FCB56C30-4ED4-45F1-BCDA-BB5D7F3806D7}" srcOrd="1" destOrd="0" presId="urn:microsoft.com/office/officeart/2018/2/layout/IconLabelDescriptionList"/>
    <dgm:cxn modelId="{0FB63588-F7FF-45FE-8B7F-6C3DFC35461D}" type="presParOf" srcId="{4B5D1625-6874-416A-BC79-647F10CFEA8B}" destId="{59687BCF-D01F-475C-8293-45D71F1AB055}" srcOrd="2" destOrd="0" presId="urn:microsoft.com/office/officeart/2018/2/layout/IconLabelDescriptionList"/>
    <dgm:cxn modelId="{49C28A12-F2F6-4F9F-8B73-568B23A55C9D}" type="presParOf" srcId="{59687BCF-D01F-475C-8293-45D71F1AB055}" destId="{D3DB0228-269A-4F9C-B068-D16061EA8D7B}" srcOrd="0" destOrd="0" presId="urn:microsoft.com/office/officeart/2018/2/layout/IconLabelDescriptionList"/>
    <dgm:cxn modelId="{1280F7E7-FEA6-42F5-8F23-F406F2BF1D07}" type="presParOf" srcId="{59687BCF-D01F-475C-8293-45D71F1AB055}" destId="{7DF9FF05-6ADC-4902-AAFA-A6F108D80182}" srcOrd="1" destOrd="0" presId="urn:microsoft.com/office/officeart/2018/2/layout/IconLabelDescriptionList"/>
    <dgm:cxn modelId="{349A6EBB-C3D0-493E-A387-685846B602D2}" type="presParOf" srcId="{59687BCF-D01F-475C-8293-45D71F1AB055}" destId="{E1F78972-A865-4C3D-97CD-B1840D5066B5}" srcOrd="2" destOrd="0" presId="urn:microsoft.com/office/officeart/2018/2/layout/IconLabelDescriptionList"/>
    <dgm:cxn modelId="{74F2C658-F656-4529-9860-48BC20F1C837}" type="presParOf" srcId="{59687BCF-D01F-475C-8293-45D71F1AB055}" destId="{DB7ED22A-6378-4BAD-9CCF-86BB228D671D}" srcOrd="3" destOrd="0" presId="urn:microsoft.com/office/officeart/2018/2/layout/IconLabelDescriptionList"/>
    <dgm:cxn modelId="{3D25217B-E279-4931-8451-C9BCF4FC7ACB}" type="presParOf" srcId="{59687BCF-D01F-475C-8293-45D71F1AB055}" destId="{DDF11F2D-9609-4396-8199-7FFCE2FF0C62}" srcOrd="4" destOrd="0" presId="urn:microsoft.com/office/officeart/2018/2/layout/IconLabelDescriptionList"/>
    <dgm:cxn modelId="{2F8AA151-CF58-4008-A91D-EBDBA76FD1A5}" type="presParOf" srcId="{4B5D1625-6874-416A-BC79-647F10CFEA8B}" destId="{080E33A0-6CB6-4E25-8164-C012018592FC}" srcOrd="3" destOrd="0" presId="urn:microsoft.com/office/officeart/2018/2/layout/IconLabelDescriptionList"/>
    <dgm:cxn modelId="{E95CBF92-924E-4C28-81FA-2BA1BE41AF98}" type="presParOf" srcId="{4B5D1625-6874-416A-BC79-647F10CFEA8B}" destId="{03AE95D2-5CEE-4E77-9608-9EE9F9BEE86B}" srcOrd="4" destOrd="0" presId="urn:microsoft.com/office/officeart/2018/2/layout/IconLabelDescriptionList"/>
    <dgm:cxn modelId="{5D3D9FF2-1211-424D-92ED-21B6349E38C1}" type="presParOf" srcId="{03AE95D2-5CEE-4E77-9608-9EE9F9BEE86B}" destId="{1FF9FFBE-AA54-4981-8F19-D8F346DA2F99}" srcOrd="0" destOrd="0" presId="urn:microsoft.com/office/officeart/2018/2/layout/IconLabelDescriptionList"/>
    <dgm:cxn modelId="{3E826E09-A862-447E-972D-66C0A1C92EEE}" type="presParOf" srcId="{03AE95D2-5CEE-4E77-9608-9EE9F9BEE86B}" destId="{0096468C-A310-4621-B587-7F626B6D9F50}" srcOrd="1" destOrd="0" presId="urn:microsoft.com/office/officeart/2018/2/layout/IconLabelDescriptionList"/>
    <dgm:cxn modelId="{53A5989F-D08D-4AF9-A85C-7EE6C9A4F9DC}" type="presParOf" srcId="{03AE95D2-5CEE-4E77-9608-9EE9F9BEE86B}" destId="{BC796432-083B-41FC-93A8-E9A787DD6B2B}" srcOrd="2" destOrd="0" presId="urn:microsoft.com/office/officeart/2018/2/layout/IconLabelDescriptionList"/>
    <dgm:cxn modelId="{36E22F43-713F-439A-9A5C-B6B2EEAF6F14}" type="presParOf" srcId="{03AE95D2-5CEE-4E77-9608-9EE9F9BEE86B}" destId="{C52D1A59-9A3A-4F84-8CD9-09B9E2F36D28}" srcOrd="3" destOrd="0" presId="urn:microsoft.com/office/officeart/2018/2/layout/IconLabelDescriptionList"/>
    <dgm:cxn modelId="{D028FF48-EED0-4470-B6B5-531A38F36D98}" type="presParOf" srcId="{03AE95D2-5CEE-4E77-9608-9EE9F9BEE86B}" destId="{F465CFD9-F91D-448A-B19D-829E45314153}" srcOrd="4" destOrd="0" presId="urn:microsoft.com/office/officeart/2018/2/layout/IconLabelDescriptionList"/>
    <dgm:cxn modelId="{22BB66A7-833C-4DD1-B813-66DA4E420FA7}" type="presParOf" srcId="{4B5D1625-6874-416A-BC79-647F10CFEA8B}" destId="{B8FEFC5B-E1EB-4731-B1FD-9BA3B43BA7CB}" srcOrd="5" destOrd="0" presId="urn:microsoft.com/office/officeart/2018/2/layout/IconLabelDescriptionList"/>
    <dgm:cxn modelId="{3583A212-DA6E-40CB-977C-E2FECD594A6D}" type="presParOf" srcId="{4B5D1625-6874-416A-BC79-647F10CFEA8B}" destId="{5F01A02A-6253-4C26-BF61-965BBDC428CB}" srcOrd="6" destOrd="0" presId="urn:microsoft.com/office/officeart/2018/2/layout/IconLabelDescriptionList"/>
    <dgm:cxn modelId="{4106A53D-EC0A-4239-9762-EFC9EB713203}" type="presParOf" srcId="{5F01A02A-6253-4C26-BF61-965BBDC428CB}" destId="{139F1EA8-55E0-413D-8666-E933AB7B1D2B}" srcOrd="0" destOrd="0" presId="urn:microsoft.com/office/officeart/2018/2/layout/IconLabelDescriptionList"/>
    <dgm:cxn modelId="{7DBB0C81-7952-4936-863B-74DA25E621C3}" type="presParOf" srcId="{5F01A02A-6253-4C26-BF61-965BBDC428CB}" destId="{B4150CEF-43C5-4C69-A04F-C321D773141F}" srcOrd="1" destOrd="0" presId="urn:microsoft.com/office/officeart/2018/2/layout/IconLabelDescriptionList"/>
    <dgm:cxn modelId="{CD2778AA-E711-4970-B477-E3BDC24DFC3B}" type="presParOf" srcId="{5F01A02A-6253-4C26-BF61-965BBDC428CB}" destId="{B102A5AE-9F47-45BA-9DB9-D0FAF5E643C8}" srcOrd="2" destOrd="0" presId="urn:microsoft.com/office/officeart/2018/2/layout/IconLabelDescriptionList"/>
    <dgm:cxn modelId="{BC694D7B-20A8-4B07-92C0-59AB3E64DF9B}" type="presParOf" srcId="{5F01A02A-6253-4C26-BF61-965BBDC428CB}" destId="{1C797252-1DBD-4C11-A52A-5A0B9CEAB9D5}" srcOrd="3" destOrd="0" presId="urn:microsoft.com/office/officeart/2018/2/layout/IconLabelDescriptionList"/>
    <dgm:cxn modelId="{5A26A2B3-09B7-4299-B1B7-7615FF72A3E9}" type="presParOf" srcId="{5F01A02A-6253-4C26-BF61-965BBDC428CB}" destId="{70AF8628-34A3-4617-AA6F-40BC1B011902}" srcOrd="4" destOrd="0" presId="urn:microsoft.com/office/officeart/2018/2/layout/IconLabelDescription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B926C133-9A11-4B52-A42B-6F51BFDB64A0}" type="doc">
      <dgm:prSet loTypeId="urn:microsoft.com/office/officeart/2005/8/layout/vList2" loCatId="list" qsTypeId="urn:microsoft.com/office/officeart/2005/8/quickstyle/simple1" qsCatId="simple" csTypeId="urn:microsoft.com/office/officeart/2005/8/colors/accent0_2" csCatId="mainScheme"/>
      <dgm:spPr/>
      <dgm:t>
        <a:bodyPr/>
        <a:lstStyle/>
        <a:p>
          <a:endParaRPr lang="en-US"/>
        </a:p>
      </dgm:t>
    </dgm:pt>
    <dgm:pt modelId="{FB599CB0-7B1D-429A-AFD9-FD1C7DC14721}">
      <dgm:prSet/>
      <dgm:spPr/>
      <dgm:t>
        <a:bodyPr/>
        <a:lstStyle/>
        <a:p>
          <a:r>
            <a:rPr lang="en-US" b="0" i="0" baseline="0" dirty="0"/>
            <a:t>User t</a:t>
          </a:r>
          <a:r>
            <a:rPr lang="en-US" dirty="0"/>
            <a:t>raffic to SPO routed through main office </a:t>
          </a:r>
        </a:p>
      </dgm:t>
    </dgm:pt>
    <dgm:pt modelId="{E5903677-0DFB-4D51-B425-A38D9788BA64}" type="parTrans" cxnId="{49884048-ED1B-4C6C-B9CA-4A6174839605}">
      <dgm:prSet/>
      <dgm:spPr/>
      <dgm:t>
        <a:bodyPr/>
        <a:lstStyle/>
        <a:p>
          <a:endParaRPr lang="en-US"/>
        </a:p>
      </dgm:t>
    </dgm:pt>
    <dgm:pt modelId="{D804B05A-177F-42AF-866E-B08CC5C59DAC}" type="sibTrans" cxnId="{49884048-ED1B-4C6C-B9CA-4A6174839605}">
      <dgm:prSet/>
      <dgm:spPr/>
      <dgm:t>
        <a:bodyPr/>
        <a:lstStyle/>
        <a:p>
          <a:endParaRPr lang="en-US"/>
        </a:p>
      </dgm:t>
    </dgm:pt>
    <dgm:pt modelId="{E0E8BB6D-8D9F-422C-89A0-DCD4999BD169}" type="pres">
      <dgm:prSet presAssocID="{B926C133-9A11-4B52-A42B-6F51BFDB64A0}" presName="linear" presStyleCnt="0">
        <dgm:presLayoutVars>
          <dgm:animLvl val="lvl"/>
          <dgm:resizeHandles val="exact"/>
        </dgm:presLayoutVars>
      </dgm:prSet>
      <dgm:spPr/>
    </dgm:pt>
    <dgm:pt modelId="{D038B38F-1C8E-44C9-9221-944991C1EB78}" type="pres">
      <dgm:prSet presAssocID="{FB599CB0-7B1D-429A-AFD9-FD1C7DC14721}" presName="parentText" presStyleLbl="node1" presStyleIdx="0" presStyleCnt="1" custLinFactNeighborX="4570" custLinFactNeighborY="3975">
        <dgm:presLayoutVars>
          <dgm:chMax val="0"/>
          <dgm:bulletEnabled val="1"/>
        </dgm:presLayoutVars>
      </dgm:prSet>
      <dgm:spPr/>
    </dgm:pt>
  </dgm:ptLst>
  <dgm:cxnLst>
    <dgm:cxn modelId="{49884048-ED1B-4C6C-B9CA-4A6174839605}" srcId="{B926C133-9A11-4B52-A42B-6F51BFDB64A0}" destId="{FB599CB0-7B1D-429A-AFD9-FD1C7DC14721}" srcOrd="0" destOrd="0" parTransId="{E5903677-0DFB-4D51-B425-A38D9788BA64}" sibTransId="{D804B05A-177F-42AF-866E-B08CC5C59DAC}"/>
    <dgm:cxn modelId="{8BA5A278-62EE-4C3D-9A0C-F58CF364901A}" type="presOf" srcId="{FB599CB0-7B1D-429A-AFD9-FD1C7DC14721}" destId="{D038B38F-1C8E-44C9-9221-944991C1EB78}" srcOrd="0" destOrd="0" presId="urn:microsoft.com/office/officeart/2005/8/layout/vList2"/>
    <dgm:cxn modelId="{BB0DCCA1-5AFE-4F03-9F7A-B04590068932}" type="presOf" srcId="{B926C133-9A11-4B52-A42B-6F51BFDB64A0}" destId="{E0E8BB6D-8D9F-422C-89A0-DCD4999BD169}" srcOrd="0" destOrd="0" presId="urn:microsoft.com/office/officeart/2005/8/layout/vList2"/>
    <dgm:cxn modelId="{94BD953C-1539-41F6-AD15-F8C830FE72E5}" type="presParOf" srcId="{E0E8BB6D-8D9F-422C-89A0-DCD4999BD169}" destId="{D038B38F-1C8E-44C9-9221-944991C1EB78}" srcOrd="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0332F1-C6AC-45DE-81C7-60FBF86F2FB8}">
      <dsp:nvSpPr>
        <dsp:cNvPr id="0" name=""/>
        <dsp:cNvSpPr/>
      </dsp:nvSpPr>
      <dsp:spPr>
        <a:xfrm>
          <a:off x="0" y="0"/>
          <a:ext cx="9460981" cy="183168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JavaScript code making too many JSON and REST API calls to SharePoint Online</a:t>
          </a:r>
        </a:p>
      </dsp:txBody>
      <dsp:txXfrm>
        <a:off x="53648" y="53648"/>
        <a:ext cx="9353685" cy="1724386"/>
      </dsp:txXfrm>
    </dsp:sp>
    <dsp:sp modelId="{58A982C6-DBFD-416E-9B86-17519404C2BD}">
      <dsp:nvSpPr>
        <dsp:cNvPr id="0" name=""/>
        <dsp:cNvSpPr/>
      </dsp:nvSpPr>
      <dsp:spPr>
        <a:xfrm>
          <a:off x="3402" y="2079966"/>
          <a:ext cx="2986420" cy="183168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a:t>Each call requires at least one round-trip from SharePoint Online servers to/from SQL backend servers</a:t>
          </a:r>
        </a:p>
      </dsp:txBody>
      <dsp:txXfrm>
        <a:off x="57050" y="2133614"/>
        <a:ext cx="2879124" cy="1724386"/>
      </dsp:txXfrm>
    </dsp:sp>
    <dsp:sp modelId="{2A1ED0A9-70EB-458C-8B83-A804488E12A7}">
      <dsp:nvSpPr>
        <dsp:cNvPr id="0" name=""/>
        <dsp:cNvSpPr/>
      </dsp:nvSpPr>
      <dsp:spPr>
        <a:xfrm>
          <a:off x="3240682" y="2079966"/>
          <a:ext cx="2986420" cy="183168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Performance of these calls can vary as it depends on many factors such as complexity of the query, the number of sites a user follows or likes, and the current load on SharePoint Online.</a:t>
          </a:r>
        </a:p>
      </dsp:txBody>
      <dsp:txXfrm>
        <a:off x="3294330" y="2133614"/>
        <a:ext cx="2879124" cy="1724386"/>
      </dsp:txXfrm>
    </dsp:sp>
    <dsp:sp modelId="{6FDC09B4-CC2E-44A0-AF2D-AADDE75876F4}">
      <dsp:nvSpPr>
        <dsp:cNvPr id="0" name=""/>
        <dsp:cNvSpPr/>
      </dsp:nvSpPr>
      <dsp:spPr>
        <a:xfrm>
          <a:off x="6477962" y="2079966"/>
          <a:ext cx="2986420" cy="183168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a:t>The amount of data returned in these calls can potentially have an impact on network bandwidth</a:t>
          </a:r>
        </a:p>
      </dsp:txBody>
      <dsp:txXfrm>
        <a:off x="6531610" y="2133614"/>
        <a:ext cx="2879124" cy="172438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A3A81D-E6AB-4FBC-9259-996A7B5CC39B}">
      <dsp:nvSpPr>
        <dsp:cNvPr id="0" name=""/>
        <dsp:cNvSpPr/>
      </dsp:nvSpPr>
      <dsp:spPr>
        <a:xfrm>
          <a:off x="0" y="4243"/>
          <a:ext cx="8372972" cy="822510"/>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Globally distributed edge nodes provide low latency connectivity to the Microsoft Network</a:t>
          </a:r>
        </a:p>
      </dsp:txBody>
      <dsp:txXfrm>
        <a:off x="40152" y="44395"/>
        <a:ext cx="8292668" cy="74220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4BD492-CD3C-4760-8B28-07A73710102B}">
      <dsp:nvSpPr>
        <dsp:cNvPr id="0" name=""/>
        <dsp:cNvSpPr/>
      </dsp:nvSpPr>
      <dsp:spPr>
        <a:xfrm>
          <a:off x="0" y="14080"/>
          <a:ext cx="6515093" cy="562770"/>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None/>
          </a:pPr>
          <a:r>
            <a:rPr lang="en-US" sz="1300" kern="1200"/>
            <a:t>Globally distributed edge nodes provide low latency connectivity to the Microsoft Network</a:t>
          </a:r>
        </a:p>
      </dsp:txBody>
      <dsp:txXfrm>
        <a:off x="27472" y="41552"/>
        <a:ext cx="6460149" cy="507826"/>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D5400D-8A3B-49B0-A093-F72173999ECA}">
      <dsp:nvSpPr>
        <dsp:cNvPr id="0" name=""/>
        <dsp:cNvSpPr/>
      </dsp:nvSpPr>
      <dsp:spPr>
        <a:xfrm>
          <a:off x="0" y="2556"/>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2A1AFB-8D51-485A-8939-A68A72A43813}">
      <dsp:nvSpPr>
        <dsp:cNvPr id="0" name=""/>
        <dsp:cNvSpPr/>
      </dsp:nvSpPr>
      <dsp:spPr>
        <a:xfrm>
          <a:off x="0" y="2556"/>
          <a:ext cx="10880726" cy="8717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a:t>Blocking is the most extreme form of throttling</a:t>
          </a:r>
          <a:endParaRPr lang="en-US" sz="1800" kern="1200"/>
        </a:p>
      </dsp:txBody>
      <dsp:txXfrm>
        <a:off x="0" y="2556"/>
        <a:ext cx="10880726" cy="871707"/>
      </dsp:txXfrm>
    </dsp:sp>
    <dsp:sp modelId="{04E2AAF6-ED8F-4146-957C-698F3265EA25}">
      <dsp:nvSpPr>
        <dsp:cNvPr id="0" name=""/>
        <dsp:cNvSpPr/>
      </dsp:nvSpPr>
      <dsp:spPr>
        <a:xfrm>
          <a:off x="0" y="874263"/>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90C8C43-2DEB-404A-A49A-E61F048236E8}">
      <dsp:nvSpPr>
        <dsp:cNvPr id="0" name=""/>
        <dsp:cNvSpPr/>
      </dsp:nvSpPr>
      <dsp:spPr>
        <a:xfrm>
          <a:off x="0" y="874263"/>
          <a:ext cx="10880726" cy="8717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a:t>Blocking can occur if long-term, extremely excessive traffic is detected that may threaten the overall health of the SharePoint Online service</a:t>
          </a:r>
          <a:endParaRPr lang="en-US" sz="1800" kern="1200"/>
        </a:p>
      </dsp:txBody>
      <dsp:txXfrm>
        <a:off x="0" y="874263"/>
        <a:ext cx="10880726" cy="871707"/>
      </dsp:txXfrm>
    </dsp:sp>
    <dsp:sp modelId="{9D816C70-E2BA-4213-BF5A-B1C37AE18921}">
      <dsp:nvSpPr>
        <dsp:cNvPr id="0" name=""/>
        <dsp:cNvSpPr/>
      </dsp:nvSpPr>
      <dsp:spPr>
        <a:xfrm>
          <a:off x="0" y="1745971"/>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81CF188-4CB8-4687-B097-2E66D2F05E7C}">
      <dsp:nvSpPr>
        <dsp:cNvPr id="0" name=""/>
        <dsp:cNvSpPr/>
      </dsp:nvSpPr>
      <dsp:spPr>
        <a:xfrm>
          <a:off x="0" y="1745971"/>
          <a:ext cx="10880726" cy="8717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a:t>Blocks are used to prevent excessive traffic from degrading the performance and reliability of SharePoint Online</a:t>
          </a:r>
          <a:endParaRPr lang="en-US" sz="1800" kern="1200"/>
        </a:p>
      </dsp:txBody>
      <dsp:txXfrm>
        <a:off x="0" y="1745971"/>
        <a:ext cx="10880726" cy="871707"/>
      </dsp:txXfrm>
    </dsp:sp>
    <dsp:sp modelId="{1115A4BF-1B4E-4FE6-9DF2-B6C10143B7DE}">
      <dsp:nvSpPr>
        <dsp:cNvPr id="0" name=""/>
        <dsp:cNvSpPr/>
      </dsp:nvSpPr>
      <dsp:spPr>
        <a:xfrm>
          <a:off x="0" y="2617678"/>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FCF410B-4FC9-4A16-BE99-0F8FFB38E82B}">
      <dsp:nvSpPr>
        <dsp:cNvPr id="0" name=""/>
        <dsp:cNvSpPr/>
      </dsp:nvSpPr>
      <dsp:spPr>
        <a:xfrm>
          <a:off x="0" y="2617678"/>
          <a:ext cx="10880726" cy="8717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a:t>A block - which is usually placed at the app, site collection, or user level to prevent the offending process from running until you fix the problem. </a:t>
          </a:r>
          <a:endParaRPr lang="en-US" sz="1800" kern="1200"/>
        </a:p>
      </dsp:txBody>
      <dsp:txXfrm>
        <a:off x="0" y="2617678"/>
        <a:ext cx="10880726" cy="871707"/>
      </dsp:txXfrm>
    </dsp:sp>
    <dsp:sp modelId="{3F7F7D3A-8928-4B1F-856F-FC68459F5058}">
      <dsp:nvSpPr>
        <dsp:cNvPr id="0" name=""/>
        <dsp:cNvSpPr/>
      </dsp:nvSpPr>
      <dsp:spPr>
        <a:xfrm>
          <a:off x="0" y="3489386"/>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C6C1AA1-37D6-453F-8C60-106953CE9FBD}">
      <dsp:nvSpPr>
        <dsp:cNvPr id="0" name=""/>
        <dsp:cNvSpPr/>
      </dsp:nvSpPr>
      <dsp:spPr>
        <a:xfrm>
          <a:off x="0" y="3489386"/>
          <a:ext cx="10880726" cy="8717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a:t>If we block your subscription, you must take action to modify the offending processes before the block can be removed.</a:t>
          </a:r>
          <a:endParaRPr lang="en-US" sz="1800" kern="1200"/>
        </a:p>
      </dsp:txBody>
      <dsp:txXfrm>
        <a:off x="0" y="3489386"/>
        <a:ext cx="10880726" cy="871707"/>
      </dsp:txXfrm>
    </dsp:sp>
    <dsp:sp modelId="{DF35F16F-F6AD-430E-AC40-DAA7EAE8B4B2}">
      <dsp:nvSpPr>
        <dsp:cNvPr id="0" name=""/>
        <dsp:cNvSpPr/>
      </dsp:nvSpPr>
      <dsp:spPr>
        <a:xfrm>
          <a:off x="0" y="4361094"/>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5AE2651-BA56-42DB-B405-98358B77A8B7}">
      <dsp:nvSpPr>
        <dsp:cNvPr id="0" name=""/>
        <dsp:cNvSpPr/>
      </dsp:nvSpPr>
      <dsp:spPr>
        <a:xfrm>
          <a:off x="0" y="4361094"/>
          <a:ext cx="10880726" cy="8717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a:t>If we block your subscription, we will notify you of the block in the Microsoft 365 Message Center. The message describes what caused the block, provides guidance on how to resolve the offending issue, and tells you who to contact to get the block removed.</a:t>
          </a:r>
          <a:endParaRPr lang="en-US" sz="1800" kern="1200"/>
        </a:p>
      </dsp:txBody>
      <dsp:txXfrm>
        <a:off x="0" y="4361094"/>
        <a:ext cx="10880726" cy="871707"/>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FC579E-456B-4E6C-A9D4-2A4E713BDB72}">
      <dsp:nvSpPr>
        <dsp:cNvPr id="0" name=""/>
        <dsp:cNvSpPr/>
      </dsp:nvSpPr>
      <dsp:spPr>
        <a:xfrm>
          <a:off x="0" y="2353"/>
          <a:ext cx="1088072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CE2156C-5F23-48F6-BDA3-4345AF571E37}">
      <dsp:nvSpPr>
        <dsp:cNvPr id="0" name=""/>
        <dsp:cNvSpPr/>
      </dsp:nvSpPr>
      <dsp:spPr>
        <a:xfrm>
          <a:off x="0" y="2353"/>
          <a:ext cx="2176145" cy="16049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US" sz="2300" kern="1200" baseline="0"/>
            <a:t>Reduce the frequency of calls</a:t>
          </a:r>
          <a:endParaRPr lang="en-US" sz="2300" kern="1200"/>
        </a:p>
      </dsp:txBody>
      <dsp:txXfrm>
        <a:off x="0" y="2353"/>
        <a:ext cx="2176145" cy="1604981"/>
      </dsp:txXfrm>
    </dsp:sp>
    <dsp:sp modelId="{44DDE0CB-ECCC-43C9-81B0-E25666932FFB}">
      <dsp:nvSpPr>
        <dsp:cNvPr id="0" name=""/>
        <dsp:cNvSpPr/>
      </dsp:nvSpPr>
      <dsp:spPr>
        <a:xfrm>
          <a:off x="2339355" y="75235"/>
          <a:ext cx="8541369" cy="1457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a:t>Limit the number of custom JSOM and Rest API calls to SharePoint to be 6 or fewer (per page load)</a:t>
          </a:r>
          <a:endParaRPr lang="en-US" sz="1800" kern="1200"/>
        </a:p>
      </dsp:txBody>
      <dsp:txXfrm>
        <a:off x="2339355" y="75235"/>
        <a:ext cx="8541369" cy="1457648"/>
      </dsp:txXfrm>
    </dsp:sp>
    <dsp:sp modelId="{EB428D6A-7783-470D-8E49-384089B964AF}">
      <dsp:nvSpPr>
        <dsp:cNvPr id="0" name=""/>
        <dsp:cNvSpPr/>
      </dsp:nvSpPr>
      <dsp:spPr>
        <a:xfrm>
          <a:off x="2176145" y="1532884"/>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6F2A6D0-5776-4BA2-8C6A-449688983A36}">
      <dsp:nvSpPr>
        <dsp:cNvPr id="0" name=""/>
        <dsp:cNvSpPr/>
      </dsp:nvSpPr>
      <dsp:spPr>
        <a:xfrm>
          <a:off x="0" y="1607334"/>
          <a:ext cx="1088072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3AD9131-037B-4723-B4B0-02FDC714D92B}">
      <dsp:nvSpPr>
        <dsp:cNvPr id="0" name=""/>
        <dsp:cNvSpPr/>
      </dsp:nvSpPr>
      <dsp:spPr>
        <a:xfrm>
          <a:off x="0" y="1607334"/>
          <a:ext cx="2176145" cy="16049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US" sz="2300" kern="1200" baseline="0"/>
            <a:t>Decorate your traffic so we know who you are</a:t>
          </a:r>
          <a:endParaRPr lang="en-US" sz="2300" kern="1200"/>
        </a:p>
      </dsp:txBody>
      <dsp:txXfrm>
        <a:off x="0" y="1607334"/>
        <a:ext cx="2176145" cy="1604981"/>
      </dsp:txXfrm>
    </dsp:sp>
    <dsp:sp modelId="{A1ADC5D7-7BA8-4BD2-92C9-D8D9D4AE60E8}">
      <dsp:nvSpPr>
        <dsp:cNvPr id="0" name=""/>
        <dsp:cNvSpPr/>
      </dsp:nvSpPr>
      <dsp:spPr>
        <a:xfrm>
          <a:off x="2339355" y="1680216"/>
          <a:ext cx="8541369" cy="1457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a:t>One of the criteria used for throttling is traffic decoration, which impacts directly on the prioritization of the traffic. Well decorated traffic will be prioritized over traffic which is not properly decorated.</a:t>
          </a:r>
          <a:endParaRPr lang="en-US" sz="1800" kern="1200"/>
        </a:p>
      </dsp:txBody>
      <dsp:txXfrm>
        <a:off x="2339355" y="1680216"/>
        <a:ext cx="8541369" cy="1457648"/>
      </dsp:txXfrm>
    </dsp:sp>
    <dsp:sp modelId="{AF72C8F5-2F1E-4EF7-B1B1-D250337A6AB2}">
      <dsp:nvSpPr>
        <dsp:cNvPr id="0" name=""/>
        <dsp:cNvSpPr/>
      </dsp:nvSpPr>
      <dsp:spPr>
        <a:xfrm>
          <a:off x="2176145" y="3137865"/>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C5D88E9-0855-4110-B9EB-703FCD47E241}">
      <dsp:nvSpPr>
        <dsp:cNvPr id="0" name=""/>
        <dsp:cNvSpPr/>
      </dsp:nvSpPr>
      <dsp:spPr>
        <a:xfrm>
          <a:off x="0" y="3212315"/>
          <a:ext cx="1088072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B187BFA-C7C0-4BA9-A2F5-204E01D8155A}">
      <dsp:nvSpPr>
        <dsp:cNvPr id="0" name=""/>
        <dsp:cNvSpPr/>
      </dsp:nvSpPr>
      <dsp:spPr>
        <a:xfrm>
          <a:off x="0" y="3212315"/>
          <a:ext cx="2176145" cy="16049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US" sz="2300" kern="1200" baseline="0"/>
            <a:t>Leverage the retry-after header</a:t>
          </a:r>
          <a:endParaRPr lang="en-US" sz="2300" kern="1200"/>
        </a:p>
      </dsp:txBody>
      <dsp:txXfrm>
        <a:off x="0" y="3212315"/>
        <a:ext cx="2176145" cy="1604981"/>
      </dsp:txXfrm>
    </dsp:sp>
    <dsp:sp modelId="{36A1B2A9-2EFB-4135-B1A3-94A7C73BCA28}">
      <dsp:nvSpPr>
        <dsp:cNvPr id="0" name=""/>
        <dsp:cNvSpPr/>
      </dsp:nvSpPr>
      <dsp:spPr>
        <a:xfrm>
          <a:off x="2339355" y="3249618"/>
          <a:ext cx="8541369" cy="7460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a:t>Add the ExecuteQueryWithIncrementalRetry extension method in a static class and use it instead of ExecuteQuery to make your code handle throttling requests. </a:t>
          </a:r>
          <a:endParaRPr lang="en-US" sz="1800" kern="1200"/>
        </a:p>
      </dsp:txBody>
      <dsp:txXfrm>
        <a:off x="2339355" y="3249618"/>
        <a:ext cx="8541369" cy="746065"/>
      </dsp:txXfrm>
    </dsp:sp>
    <dsp:sp modelId="{0DC1638B-48AD-49C7-B2C4-E3D0208ECDB1}">
      <dsp:nvSpPr>
        <dsp:cNvPr id="0" name=""/>
        <dsp:cNvSpPr/>
      </dsp:nvSpPr>
      <dsp:spPr>
        <a:xfrm>
          <a:off x="2176145" y="3995684"/>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90F1C90-DCC9-4072-A70A-DDFEDB9CA0D0}">
      <dsp:nvSpPr>
        <dsp:cNvPr id="0" name=""/>
        <dsp:cNvSpPr/>
      </dsp:nvSpPr>
      <dsp:spPr>
        <a:xfrm>
          <a:off x="2339355" y="4032987"/>
          <a:ext cx="8541369" cy="7460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a:t>You'll need to use SharePoint Online CSOM version 16.1.8316.1200 (December 2018 version) or higher</a:t>
          </a:r>
          <a:endParaRPr lang="en-US" sz="1800" kern="1200"/>
        </a:p>
      </dsp:txBody>
      <dsp:txXfrm>
        <a:off x="2339355" y="4032987"/>
        <a:ext cx="8541369" cy="746065"/>
      </dsp:txXfrm>
    </dsp:sp>
    <dsp:sp modelId="{F4EDAA9F-C24E-4008-81D8-A7E78B7F1B18}">
      <dsp:nvSpPr>
        <dsp:cNvPr id="0" name=""/>
        <dsp:cNvSpPr/>
      </dsp:nvSpPr>
      <dsp:spPr>
        <a:xfrm>
          <a:off x="2176145" y="4779052"/>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B698A2-21C6-4CFB-8322-8CD0A33D269F}">
      <dsp:nvSpPr>
        <dsp:cNvPr id="0" name=""/>
        <dsp:cNvSpPr/>
      </dsp:nvSpPr>
      <dsp:spPr>
        <a:xfrm>
          <a:off x="1328" y="46515"/>
          <a:ext cx="4662029" cy="2960388"/>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A5067DE2-9D10-4C6F-A89F-D9027E3136F3}">
      <dsp:nvSpPr>
        <dsp:cNvPr id="0" name=""/>
        <dsp:cNvSpPr/>
      </dsp:nvSpPr>
      <dsp:spPr>
        <a:xfrm>
          <a:off x="519331" y="538618"/>
          <a:ext cx="4662029" cy="2960388"/>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baseline="0"/>
            <a:t>We continually monitor resource usage on SharePoint Online and depending on usage, we fine-tune thresholds so users can consume the maximum number of resources without degrading the reliability and performance of SharePoint Online</a:t>
          </a:r>
          <a:endParaRPr lang="en-US" sz="2100" kern="1200"/>
        </a:p>
      </dsp:txBody>
      <dsp:txXfrm>
        <a:off x="606038" y="625325"/>
        <a:ext cx="4488615" cy="2786974"/>
      </dsp:txXfrm>
    </dsp:sp>
    <dsp:sp modelId="{CF3685DD-6222-4237-9B6B-15CCC8E6F651}">
      <dsp:nvSpPr>
        <dsp:cNvPr id="0" name=""/>
        <dsp:cNvSpPr/>
      </dsp:nvSpPr>
      <dsp:spPr>
        <a:xfrm>
          <a:off x="5699364" y="46515"/>
          <a:ext cx="4662029" cy="2960388"/>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C81B12FC-CE8A-4DE7-800B-889AFEBFF8D4}">
      <dsp:nvSpPr>
        <dsp:cNvPr id="0" name=""/>
        <dsp:cNvSpPr/>
      </dsp:nvSpPr>
      <dsp:spPr>
        <a:xfrm>
          <a:off x="6217367" y="538618"/>
          <a:ext cx="4662029" cy="2960388"/>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baseline="0"/>
            <a:t>That's why it's so important for your CSOM or REST code to honor the retry-after header value; this lets your code run as fast as possible on any given day, and it lets your code back off "just enough" if it hits throttling limits. </a:t>
          </a:r>
          <a:endParaRPr lang="en-US" sz="2100" kern="1200"/>
        </a:p>
      </dsp:txBody>
      <dsp:txXfrm>
        <a:off x="6304074" y="625325"/>
        <a:ext cx="4488615" cy="2786974"/>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B7BF28-9EB4-4EAF-A69D-58B0FE84BB9E}">
      <dsp:nvSpPr>
        <dsp:cNvPr id="0" name=""/>
        <dsp:cNvSpPr/>
      </dsp:nvSpPr>
      <dsp:spPr>
        <a:xfrm>
          <a:off x="0" y="418939"/>
          <a:ext cx="10880725" cy="126000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520700"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Classic pages 6 or fewer (per page load)</a:t>
          </a:r>
          <a:endParaRPr lang="nb-NO" sz="1800" kern="1200" dirty="0"/>
        </a:p>
        <a:p>
          <a:pPr marL="171450" lvl="1" indent="-171450" algn="l" defTabSz="800100">
            <a:lnSpc>
              <a:spcPct val="90000"/>
            </a:lnSpc>
            <a:spcBef>
              <a:spcPct val="0"/>
            </a:spcBef>
            <a:spcAft>
              <a:spcPct val="15000"/>
            </a:spcAft>
            <a:buChar char="•"/>
          </a:pPr>
          <a:r>
            <a:rPr lang="en-US" sz="1800" kern="1200" dirty="0"/>
            <a:t>Modern pages 25 or fewer (per page load)  </a:t>
          </a:r>
          <a:endParaRPr lang="nb-NO" sz="1800" kern="1200" dirty="0"/>
        </a:p>
      </dsp:txBody>
      <dsp:txXfrm>
        <a:off x="0" y="418939"/>
        <a:ext cx="10880725" cy="1260000"/>
      </dsp:txXfrm>
    </dsp:sp>
    <dsp:sp modelId="{ADB983CD-EF20-471C-964F-B520DCF4D3FE}">
      <dsp:nvSpPr>
        <dsp:cNvPr id="0" name=""/>
        <dsp:cNvSpPr/>
      </dsp:nvSpPr>
      <dsp:spPr>
        <a:xfrm>
          <a:off x="544036" y="49939"/>
          <a:ext cx="7616507" cy="73800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dirty="0"/>
            <a:t>What is the recommended limit of the number of custom JSOM and Rest API calls to SharePoint?</a:t>
          </a:r>
          <a:endParaRPr lang="nb-NO" sz="1800" kern="1200" dirty="0"/>
        </a:p>
      </dsp:txBody>
      <dsp:txXfrm>
        <a:off x="580062" y="85965"/>
        <a:ext cx="7544455" cy="665948"/>
      </dsp:txXfrm>
    </dsp:sp>
    <dsp:sp modelId="{FB3F1349-3785-4E6E-9708-EBE55C1DC01C}">
      <dsp:nvSpPr>
        <dsp:cNvPr id="0" name=""/>
        <dsp:cNvSpPr/>
      </dsp:nvSpPr>
      <dsp:spPr>
        <a:xfrm>
          <a:off x="0" y="2182939"/>
          <a:ext cx="10880725" cy="925312"/>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520700"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Structured navigation</a:t>
          </a:r>
          <a:endParaRPr lang="nb-NO" sz="1800" kern="1200" dirty="0"/>
        </a:p>
      </dsp:txBody>
      <dsp:txXfrm>
        <a:off x="0" y="2182939"/>
        <a:ext cx="10880725" cy="925312"/>
      </dsp:txXfrm>
    </dsp:sp>
    <dsp:sp modelId="{FB9B9A09-DE7B-42EC-B9DE-EC481931C524}">
      <dsp:nvSpPr>
        <dsp:cNvPr id="0" name=""/>
        <dsp:cNvSpPr/>
      </dsp:nvSpPr>
      <dsp:spPr>
        <a:xfrm>
          <a:off x="544036" y="1813939"/>
          <a:ext cx="7616507" cy="73800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dirty="0"/>
            <a:t>Which type of site navigation is not recommended for publishing portals, especially with portals with deeply nested site structure?</a:t>
          </a:r>
          <a:endParaRPr lang="nb-NO" sz="1800" kern="1200" dirty="0"/>
        </a:p>
      </dsp:txBody>
      <dsp:txXfrm>
        <a:off x="580062" y="1849965"/>
        <a:ext cx="7544455" cy="665948"/>
      </dsp:txXfrm>
    </dsp:sp>
    <dsp:sp modelId="{19D83D99-684B-4D85-A42D-E1927F006482}">
      <dsp:nvSpPr>
        <dsp:cNvPr id="0" name=""/>
        <dsp:cNvSpPr/>
      </dsp:nvSpPr>
      <dsp:spPr>
        <a:xfrm>
          <a:off x="0" y="3612252"/>
          <a:ext cx="10880725" cy="189000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520700"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Reduce the number of operations per request</a:t>
          </a:r>
          <a:endParaRPr lang="nb-NO" sz="1800" kern="1200" dirty="0"/>
        </a:p>
        <a:p>
          <a:pPr marL="171450" lvl="1" indent="-171450" algn="l" defTabSz="800100">
            <a:lnSpc>
              <a:spcPct val="90000"/>
            </a:lnSpc>
            <a:spcBef>
              <a:spcPct val="0"/>
            </a:spcBef>
            <a:spcAft>
              <a:spcPct val="15000"/>
            </a:spcAft>
            <a:buChar char="•"/>
          </a:pPr>
          <a:r>
            <a:rPr lang="en-US" sz="1800" kern="1200" dirty="0"/>
            <a:t>Reduce the frequency of calls</a:t>
          </a:r>
          <a:endParaRPr lang="nb-NO" sz="1800" kern="1200" dirty="0"/>
        </a:p>
        <a:p>
          <a:pPr marL="171450" lvl="1" indent="-171450" algn="l" defTabSz="800100">
            <a:lnSpc>
              <a:spcPct val="90000"/>
            </a:lnSpc>
            <a:spcBef>
              <a:spcPct val="0"/>
            </a:spcBef>
            <a:spcAft>
              <a:spcPct val="15000"/>
            </a:spcAft>
            <a:buChar char="•"/>
          </a:pPr>
          <a:r>
            <a:rPr lang="en-US" sz="1800" kern="1200" dirty="0"/>
            <a:t>Decorate your traffic so we know who you are</a:t>
          </a:r>
          <a:endParaRPr lang="nb-NO" sz="1800" kern="1200" dirty="0"/>
        </a:p>
        <a:p>
          <a:pPr marL="171450" lvl="1" indent="-171450" algn="l" defTabSz="800100">
            <a:lnSpc>
              <a:spcPct val="90000"/>
            </a:lnSpc>
            <a:spcBef>
              <a:spcPct val="0"/>
            </a:spcBef>
            <a:spcAft>
              <a:spcPct val="15000"/>
            </a:spcAft>
            <a:buChar char="•"/>
          </a:pPr>
          <a:r>
            <a:rPr lang="en-US" sz="1800" kern="1200" dirty="0"/>
            <a:t>Leverage the retry-after header</a:t>
          </a:r>
          <a:endParaRPr lang="nb-NO" sz="1800" kern="1200" dirty="0"/>
        </a:p>
      </dsp:txBody>
      <dsp:txXfrm>
        <a:off x="0" y="3612252"/>
        <a:ext cx="10880725" cy="1890000"/>
      </dsp:txXfrm>
    </dsp:sp>
    <dsp:sp modelId="{BD4E8ECE-7125-4BA4-A023-9F900BC521BD}">
      <dsp:nvSpPr>
        <dsp:cNvPr id="0" name=""/>
        <dsp:cNvSpPr/>
      </dsp:nvSpPr>
      <dsp:spPr>
        <a:xfrm>
          <a:off x="544036" y="3243252"/>
          <a:ext cx="7616507" cy="73800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dirty="0"/>
            <a:t>What are some recommended ways to avoid being throttled when using custom code to make JSOM and Rest API calls to SharePoint?</a:t>
          </a:r>
          <a:endParaRPr lang="nb-NO" sz="1800" kern="1200" dirty="0"/>
        </a:p>
      </dsp:txBody>
      <dsp:txXfrm>
        <a:off x="580062" y="3279278"/>
        <a:ext cx="7544455" cy="66594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5B50EC-5CF3-46F0-A28C-B0FCC3B7767C}">
      <dsp:nvSpPr>
        <dsp:cNvPr id="0" name=""/>
        <dsp:cNvSpPr/>
      </dsp:nvSpPr>
      <dsp:spPr>
        <a:xfrm>
          <a:off x="0" y="0"/>
          <a:ext cx="1088072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809D898-C6E2-4634-9F5D-8E0A2F629355}">
      <dsp:nvSpPr>
        <dsp:cNvPr id="0" name=""/>
        <dsp:cNvSpPr/>
      </dsp:nvSpPr>
      <dsp:spPr>
        <a:xfrm>
          <a:off x="0" y="0"/>
          <a:ext cx="2176145" cy="48196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US" sz="2300" kern="1200" dirty="0"/>
            <a:t>Recommended guidance for custom external calls to SharePoint</a:t>
          </a:r>
        </a:p>
      </dsp:txBody>
      <dsp:txXfrm>
        <a:off x="0" y="0"/>
        <a:ext cx="2176145" cy="4819650"/>
      </dsp:txXfrm>
    </dsp:sp>
    <dsp:sp modelId="{BD447201-A3A5-4A2B-B71E-F476BF1039E0}">
      <dsp:nvSpPr>
        <dsp:cNvPr id="0" name=""/>
        <dsp:cNvSpPr/>
      </dsp:nvSpPr>
      <dsp:spPr>
        <a:xfrm>
          <a:off x="2339355" y="56656"/>
          <a:ext cx="4189079" cy="11331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US" sz="1700" kern="1200" dirty="0"/>
            <a:t>Limit the number of custom JSOM and Rest API calls to SharePoint</a:t>
          </a:r>
        </a:p>
      </dsp:txBody>
      <dsp:txXfrm>
        <a:off x="2339355" y="56656"/>
        <a:ext cx="4189079" cy="1133135"/>
      </dsp:txXfrm>
    </dsp:sp>
    <dsp:sp modelId="{3F9F9DA5-7C84-4E47-B3E0-ADE2A256124A}">
      <dsp:nvSpPr>
        <dsp:cNvPr id="0" name=""/>
        <dsp:cNvSpPr/>
      </dsp:nvSpPr>
      <dsp:spPr>
        <a:xfrm>
          <a:off x="6691645" y="56656"/>
          <a:ext cx="4189079" cy="5665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kern="1200" dirty="0"/>
            <a:t>The SPO product group recommends 6 or fewer (per page load)</a:t>
          </a:r>
        </a:p>
      </dsp:txBody>
      <dsp:txXfrm>
        <a:off x="6691645" y="56656"/>
        <a:ext cx="4189079" cy="566567"/>
      </dsp:txXfrm>
    </dsp:sp>
    <dsp:sp modelId="{FA35ECFF-5DF4-4044-8369-59F7AA31F710}">
      <dsp:nvSpPr>
        <dsp:cNvPr id="0" name=""/>
        <dsp:cNvSpPr/>
      </dsp:nvSpPr>
      <dsp:spPr>
        <a:xfrm>
          <a:off x="6528435" y="623224"/>
          <a:ext cx="4189079"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A8A95A1-434D-45D1-982F-A9CB61ADEB30}">
      <dsp:nvSpPr>
        <dsp:cNvPr id="0" name=""/>
        <dsp:cNvSpPr/>
      </dsp:nvSpPr>
      <dsp:spPr>
        <a:xfrm>
          <a:off x="6691645" y="623224"/>
          <a:ext cx="4189079" cy="5665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kern="1200" dirty="0"/>
            <a:t>Modern site pages should contain no more than 25 calls </a:t>
          </a:r>
        </a:p>
      </dsp:txBody>
      <dsp:txXfrm>
        <a:off x="6691645" y="623224"/>
        <a:ext cx="4189079" cy="566567"/>
      </dsp:txXfrm>
    </dsp:sp>
    <dsp:sp modelId="{DCBF579E-B591-490B-9D58-CED3086D1BFC}">
      <dsp:nvSpPr>
        <dsp:cNvPr id="0" name=""/>
        <dsp:cNvSpPr/>
      </dsp:nvSpPr>
      <dsp:spPr>
        <a:xfrm>
          <a:off x="2176145" y="1189792"/>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6F09CF2-D015-4485-B200-7FCFEE7C3154}">
      <dsp:nvSpPr>
        <dsp:cNvPr id="0" name=""/>
        <dsp:cNvSpPr/>
      </dsp:nvSpPr>
      <dsp:spPr>
        <a:xfrm>
          <a:off x="2339355" y="1246449"/>
          <a:ext cx="4189079" cy="11331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US" sz="1700" kern="1200" dirty="0"/>
            <a:t>Avoid having numerous controls requesting exactly the same data numerous times on a page</a:t>
          </a:r>
        </a:p>
      </dsp:txBody>
      <dsp:txXfrm>
        <a:off x="2339355" y="1246449"/>
        <a:ext cx="4189079" cy="1133135"/>
      </dsp:txXfrm>
    </dsp:sp>
    <dsp:sp modelId="{27A6EC35-47A1-4890-9FC3-87E66964CC9A}">
      <dsp:nvSpPr>
        <dsp:cNvPr id="0" name=""/>
        <dsp:cNvSpPr/>
      </dsp:nvSpPr>
      <dsp:spPr>
        <a:xfrm>
          <a:off x="2176145" y="2379584"/>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A53C937-86FB-44A7-BEEB-D9342D00D6A3}">
      <dsp:nvSpPr>
        <dsp:cNvPr id="0" name=""/>
        <dsp:cNvSpPr/>
      </dsp:nvSpPr>
      <dsp:spPr>
        <a:xfrm>
          <a:off x="2339355" y="2436241"/>
          <a:ext cx="4189079" cy="11331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US" sz="1700" kern="1200"/>
            <a:t>Do not embed redundant custom JavaScript and CSS throughout the page body</a:t>
          </a:r>
        </a:p>
      </dsp:txBody>
      <dsp:txXfrm>
        <a:off x="2339355" y="2436241"/>
        <a:ext cx="4189079" cy="1133135"/>
      </dsp:txXfrm>
    </dsp:sp>
    <dsp:sp modelId="{80E01191-FFF7-4A15-80E7-B23FAC1DD639}">
      <dsp:nvSpPr>
        <dsp:cNvPr id="0" name=""/>
        <dsp:cNvSpPr/>
      </dsp:nvSpPr>
      <dsp:spPr>
        <a:xfrm>
          <a:off x="2176145" y="3569376"/>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9A92391-5358-469D-9208-9CBA6417CCD8}">
      <dsp:nvSpPr>
        <dsp:cNvPr id="0" name=""/>
        <dsp:cNvSpPr/>
      </dsp:nvSpPr>
      <dsp:spPr>
        <a:xfrm>
          <a:off x="2339355" y="3626033"/>
          <a:ext cx="4189079" cy="11331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US" sz="1700" kern="1200"/>
            <a:t>Batching JavaScript calls will help reduce number of roundtrips to SharePoint server and can increase performance.  </a:t>
          </a:r>
        </a:p>
      </dsp:txBody>
      <dsp:txXfrm>
        <a:off x="2339355" y="3626033"/>
        <a:ext cx="4189079" cy="1133135"/>
      </dsp:txXfrm>
    </dsp:sp>
    <dsp:sp modelId="{B5761AD8-1798-4534-8CC4-2E7DAAE839F7}">
      <dsp:nvSpPr>
        <dsp:cNvPr id="0" name=""/>
        <dsp:cNvSpPr/>
      </dsp:nvSpPr>
      <dsp:spPr>
        <a:xfrm>
          <a:off x="6691645" y="3626033"/>
          <a:ext cx="4189079" cy="11331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kern="1200"/>
            <a:t>SharePoint PnP (an open-source initiative led by Microsoft) has published a JavaScript SharePoint library with batching capability that can be used to batch JavaScript calls together. </a:t>
          </a:r>
          <a:r>
            <a:rPr lang="en-US" sz="1200" kern="1200">
              <a:hlinkClick xmlns:r="http://schemas.openxmlformats.org/officeDocument/2006/relationships" r:id="rId1"/>
            </a:rPr>
            <a:t>https://github.com/SharePoint/PnP-JS-Core/wiki/Batching</a:t>
          </a:r>
          <a:endParaRPr lang="en-US" sz="1200" kern="1200"/>
        </a:p>
      </dsp:txBody>
      <dsp:txXfrm>
        <a:off x="6691645" y="3626033"/>
        <a:ext cx="4189079" cy="1133135"/>
      </dsp:txXfrm>
    </dsp:sp>
    <dsp:sp modelId="{D36EDCBD-FB1E-4F32-8ED7-BB73BAFDB77D}">
      <dsp:nvSpPr>
        <dsp:cNvPr id="0" name=""/>
        <dsp:cNvSpPr/>
      </dsp:nvSpPr>
      <dsp:spPr>
        <a:xfrm>
          <a:off x="2176145" y="4759169"/>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4D8EDA-41DC-484B-BCF2-4AFF80013C1D}">
      <dsp:nvSpPr>
        <dsp:cNvPr id="0" name=""/>
        <dsp:cNvSpPr/>
      </dsp:nvSpPr>
      <dsp:spPr>
        <a:xfrm>
          <a:off x="0" y="0"/>
          <a:ext cx="1088072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6670CE0-DD86-4A72-80A8-1A405FDB489D}">
      <dsp:nvSpPr>
        <dsp:cNvPr id="0" name=""/>
        <dsp:cNvSpPr/>
      </dsp:nvSpPr>
      <dsp:spPr>
        <a:xfrm>
          <a:off x="0" y="0"/>
          <a:ext cx="2176145" cy="48196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dirty="0"/>
            <a:t>Many large image files on page</a:t>
          </a:r>
        </a:p>
      </dsp:txBody>
      <dsp:txXfrm>
        <a:off x="0" y="0"/>
        <a:ext cx="2176145" cy="4819650"/>
      </dsp:txXfrm>
    </dsp:sp>
    <dsp:sp modelId="{259DB671-0576-4C04-BCCA-E5332C8DDC29}">
      <dsp:nvSpPr>
        <dsp:cNvPr id="0" name=""/>
        <dsp:cNvSpPr/>
      </dsp:nvSpPr>
      <dsp:spPr>
        <a:xfrm>
          <a:off x="2339355" y="56656"/>
          <a:ext cx="4189079" cy="11331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Many large static files within a SharePoint page can have a significant impact on page performance</a:t>
          </a:r>
        </a:p>
      </dsp:txBody>
      <dsp:txXfrm>
        <a:off x="2339355" y="56656"/>
        <a:ext cx="4189079" cy="1133135"/>
      </dsp:txXfrm>
    </dsp:sp>
    <dsp:sp modelId="{C94DD6CB-210D-4217-A4D0-86E9327F35EA}">
      <dsp:nvSpPr>
        <dsp:cNvPr id="0" name=""/>
        <dsp:cNvSpPr/>
      </dsp:nvSpPr>
      <dsp:spPr>
        <a:xfrm>
          <a:off x="6691645" y="56656"/>
          <a:ext cx="4189079" cy="11331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Ex: (3 images @5mb per image = 15mb) x 40,000 page loads per day (for typical portal) = just over 585GB over the network just for that page.</a:t>
          </a:r>
        </a:p>
      </dsp:txBody>
      <dsp:txXfrm>
        <a:off x="6691645" y="56656"/>
        <a:ext cx="4189079" cy="1133135"/>
      </dsp:txXfrm>
    </dsp:sp>
    <dsp:sp modelId="{6AF0B048-D34A-4994-A910-B5AEC9E220E0}">
      <dsp:nvSpPr>
        <dsp:cNvPr id="0" name=""/>
        <dsp:cNvSpPr/>
      </dsp:nvSpPr>
      <dsp:spPr>
        <a:xfrm>
          <a:off x="2176145" y="1189792"/>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A5B9618-F1A6-4CFF-A76B-087016599673}">
      <dsp:nvSpPr>
        <dsp:cNvPr id="0" name=""/>
        <dsp:cNvSpPr/>
      </dsp:nvSpPr>
      <dsp:spPr>
        <a:xfrm>
          <a:off x="2339355" y="1246449"/>
          <a:ext cx="4189079" cy="11331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This also means at least 120,000 calls to SQL (40,000 x 3 images) which can be avoided if they are in CDN as SQL is not used to return the images for the CDNs.</a:t>
          </a:r>
        </a:p>
      </dsp:txBody>
      <dsp:txXfrm>
        <a:off x="2339355" y="1246449"/>
        <a:ext cx="4189079" cy="1133135"/>
      </dsp:txXfrm>
    </dsp:sp>
    <dsp:sp modelId="{E9573895-F188-4179-AB18-388F5A770BCB}">
      <dsp:nvSpPr>
        <dsp:cNvPr id="0" name=""/>
        <dsp:cNvSpPr/>
      </dsp:nvSpPr>
      <dsp:spPr>
        <a:xfrm>
          <a:off x="2176145" y="2379584"/>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0C18FCC-A4D9-4BA3-AC17-2F69027CABB7}">
      <dsp:nvSpPr>
        <dsp:cNvPr id="0" name=""/>
        <dsp:cNvSpPr/>
      </dsp:nvSpPr>
      <dsp:spPr>
        <a:xfrm>
          <a:off x="2339355" y="2436241"/>
          <a:ext cx="4189079" cy="11331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JS and CSS files are common static files that can also be served from CDN</a:t>
          </a:r>
        </a:p>
      </dsp:txBody>
      <dsp:txXfrm>
        <a:off x="2339355" y="2436241"/>
        <a:ext cx="4189079" cy="1133135"/>
      </dsp:txXfrm>
    </dsp:sp>
    <dsp:sp modelId="{34879362-2C1B-4017-B217-93DFF1247DDC}">
      <dsp:nvSpPr>
        <dsp:cNvPr id="0" name=""/>
        <dsp:cNvSpPr/>
      </dsp:nvSpPr>
      <dsp:spPr>
        <a:xfrm>
          <a:off x="2176145" y="3569376"/>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A54C384-2DB4-4B17-AEA3-C510C030DB73}">
      <dsp:nvSpPr>
        <dsp:cNvPr id="0" name=""/>
        <dsp:cNvSpPr/>
      </dsp:nvSpPr>
      <dsp:spPr>
        <a:xfrm>
          <a:off x="2339355" y="3626033"/>
          <a:ext cx="4189079" cy="11331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a:t>CDNs also use HTTP2 which allows images to be loaded much faster and reduces bottlenecks on the page.</a:t>
          </a:r>
        </a:p>
      </dsp:txBody>
      <dsp:txXfrm>
        <a:off x="2339355" y="3626033"/>
        <a:ext cx="4189079" cy="1133135"/>
      </dsp:txXfrm>
    </dsp:sp>
    <dsp:sp modelId="{8EE7DC27-79FA-48FF-9CB3-2B628089FA3E}">
      <dsp:nvSpPr>
        <dsp:cNvPr id="0" name=""/>
        <dsp:cNvSpPr/>
      </dsp:nvSpPr>
      <dsp:spPr>
        <a:xfrm>
          <a:off x="2176145" y="4759169"/>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4CBFC7-4D4F-4087-8A49-4858062F4467}">
      <dsp:nvSpPr>
        <dsp:cNvPr id="0" name=""/>
        <dsp:cNvSpPr/>
      </dsp:nvSpPr>
      <dsp:spPr>
        <a:xfrm>
          <a:off x="0" y="184574"/>
          <a:ext cx="10880725" cy="662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US" sz="2300" kern="1200" baseline="0"/>
            <a:t>Recommended guidance for image optimization</a:t>
          </a:r>
          <a:endParaRPr lang="en-US" sz="2300" kern="1200"/>
        </a:p>
      </dsp:txBody>
      <dsp:txXfrm>
        <a:off x="0" y="184574"/>
        <a:ext cx="10880725" cy="662400"/>
      </dsp:txXfrm>
    </dsp:sp>
    <dsp:sp modelId="{19939598-E84C-4021-8BF7-2160090EACA5}">
      <dsp:nvSpPr>
        <dsp:cNvPr id="0" name=""/>
        <dsp:cNvSpPr/>
      </dsp:nvSpPr>
      <dsp:spPr>
        <a:xfrm>
          <a:off x="0" y="846975"/>
          <a:ext cx="10880725" cy="378810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baseline="0"/>
            <a:t>Do not embed several 10MB thumbnail images throughout the page body</a:t>
          </a:r>
          <a:endParaRPr lang="en-US" sz="2300" kern="1200"/>
        </a:p>
        <a:p>
          <a:pPr marL="228600" lvl="1" indent="-228600" algn="l" defTabSz="1022350">
            <a:lnSpc>
              <a:spcPct val="90000"/>
            </a:lnSpc>
            <a:spcBef>
              <a:spcPct val="0"/>
            </a:spcBef>
            <a:spcAft>
              <a:spcPct val="15000"/>
            </a:spcAft>
            <a:buChar char="•"/>
          </a:pPr>
          <a:r>
            <a:rPr lang="en-US" sz="2300" kern="1200" baseline="0"/>
            <a:t>Use SharePoint image renditions (a feature available in classic publishing sites)</a:t>
          </a:r>
          <a:endParaRPr lang="en-US" sz="2300" kern="1200"/>
        </a:p>
        <a:p>
          <a:pPr marL="457200" lvl="2" indent="-228600" algn="l" defTabSz="1022350">
            <a:lnSpc>
              <a:spcPct val="90000"/>
            </a:lnSpc>
            <a:spcBef>
              <a:spcPct val="0"/>
            </a:spcBef>
            <a:spcAft>
              <a:spcPct val="15000"/>
            </a:spcAft>
            <a:buChar char="•"/>
          </a:pPr>
          <a:r>
            <a:rPr lang="en-US" sz="2300" kern="1200" baseline="0"/>
            <a:t>Allows you to serve up different versions of images based on pre-defined image dimensions.</a:t>
          </a:r>
          <a:endParaRPr lang="en-US" sz="2300" kern="1200"/>
        </a:p>
        <a:p>
          <a:pPr marL="228600" lvl="1" indent="-228600" algn="l" defTabSz="1022350">
            <a:lnSpc>
              <a:spcPct val="90000"/>
            </a:lnSpc>
            <a:spcBef>
              <a:spcPct val="0"/>
            </a:spcBef>
            <a:spcAft>
              <a:spcPct val="15000"/>
            </a:spcAft>
            <a:buChar char="•"/>
          </a:pPr>
          <a:r>
            <a:rPr lang="en-US" sz="2300" kern="1200" baseline="0"/>
            <a:t>Using image compression and optimization to speed up page loading in SharePoint </a:t>
          </a:r>
          <a:endParaRPr lang="en-US" sz="2300" kern="1200"/>
        </a:p>
        <a:p>
          <a:pPr marL="457200" lvl="2" indent="-228600" algn="l" defTabSz="1022350">
            <a:lnSpc>
              <a:spcPct val="90000"/>
            </a:lnSpc>
            <a:spcBef>
              <a:spcPct val="0"/>
            </a:spcBef>
            <a:spcAft>
              <a:spcPct val="15000"/>
            </a:spcAft>
            <a:buChar char="•"/>
          </a:pPr>
          <a:r>
            <a:rPr lang="en-US" sz="2300" kern="1200" baseline="0"/>
            <a:t>There are various tools available to use for compression and optimization, including Photo Gallery and third-party tools. </a:t>
          </a:r>
          <a:endParaRPr lang="en-US" sz="2300" kern="1200"/>
        </a:p>
        <a:p>
          <a:pPr marL="228600" lvl="1" indent="-228600" algn="l" defTabSz="1022350">
            <a:lnSpc>
              <a:spcPct val="90000"/>
            </a:lnSpc>
            <a:spcBef>
              <a:spcPct val="0"/>
            </a:spcBef>
            <a:spcAft>
              <a:spcPct val="15000"/>
            </a:spcAft>
            <a:buChar char="•"/>
          </a:pPr>
          <a:r>
            <a:rPr lang="en-US" sz="2300" kern="1200" baseline="0"/>
            <a:t>Use Microsoft’s content delivery network (CDN) to host static image files</a:t>
          </a:r>
          <a:endParaRPr lang="en-US" sz="2300" kern="1200"/>
        </a:p>
      </dsp:txBody>
      <dsp:txXfrm>
        <a:off x="0" y="846975"/>
        <a:ext cx="10880725" cy="37881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58CF44-3C9A-4037-A8DA-ECCB5B2E3C30}">
      <dsp:nvSpPr>
        <dsp:cNvPr id="0" name=""/>
        <dsp:cNvSpPr/>
      </dsp:nvSpPr>
      <dsp:spPr>
        <a:xfrm>
          <a:off x="0" y="2353"/>
          <a:ext cx="1088072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8A28FF3-1439-49C4-B883-1DA7A3F1D2C4}">
      <dsp:nvSpPr>
        <dsp:cNvPr id="0" name=""/>
        <dsp:cNvSpPr/>
      </dsp:nvSpPr>
      <dsp:spPr>
        <a:xfrm>
          <a:off x="0" y="2353"/>
          <a:ext cx="2176145" cy="48149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baseline="0" dirty="0"/>
            <a:t>Site navigation recommendations: </a:t>
          </a:r>
          <a:endParaRPr lang="en-US" sz="2800" kern="1200" dirty="0"/>
        </a:p>
      </dsp:txBody>
      <dsp:txXfrm>
        <a:off x="0" y="2353"/>
        <a:ext cx="2176145" cy="4814943"/>
      </dsp:txXfrm>
    </dsp:sp>
    <dsp:sp modelId="{4D355BD0-A25C-4B1B-9073-039A35B8048F}">
      <dsp:nvSpPr>
        <dsp:cNvPr id="0" name=""/>
        <dsp:cNvSpPr/>
      </dsp:nvSpPr>
      <dsp:spPr>
        <a:xfrm>
          <a:off x="2339355" y="77586"/>
          <a:ext cx="4189079" cy="15046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baseline="0" dirty="0"/>
            <a:t>Out-of-the-box managed navigation (MMS)</a:t>
          </a:r>
          <a:endParaRPr lang="en-US" sz="2000" kern="1200" dirty="0"/>
        </a:p>
      </dsp:txBody>
      <dsp:txXfrm>
        <a:off x="2339355" y="77586"/>
        <a:ext cx="4189079" cy="1504669"/>
      </dsp:txXfrm>
    </dsp:sp>
    <dsp:sp modelId="{7E91D532-342D-423F-A8B7-1E2BBF69D656}">
      <dsp:nvSpPr>
        <dsp:cNvPr id="0" name=""/>
        <dsp:cNvSpPr/>
      </dsp:nvSpPr>
      <dsp:spPr>
        <a:xfrm>
          <a:off x="6691645" y="77586"/>
          <a:ext cx="4189079" cy="15046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baseline="0"/>
            <a:t>Allows you to use a Managed Metadata Service (MMS) Term set to configure the navigation nodes for a given site collection</a:t>
          </a:r>
          <a:endParaRPr lang="en-US" sz="1400" kern="1200"/>
        </a:p>
      </dsp:txBody>
      <dsp:txXfrm>
        <a:off x="6691645" y="77586"/>
        <a:ext cx="4189079" cy="1504669"/>
      </dsp:txXfrm>
    </dsp:sp>
    <dsp:sp modelId="{9D6967A7-BF45-43A9-9230-ECD349AFCD29}">
      <dsp:nvSpPr>
        <dsp:cNvPr id="0" name=""/>
        <dsp:cNvSpPr/>
      </dsp:nvSpPr>
      <dsp:spPr>
        <a:xfrm>
          <a:off x="2176144" y="1582256"/>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66A34B1-022C-4759-BF55-E283FDBAC85B}">
      <dsp:nvSpPr>
        <dsp:cNvPr id="0" name=""/>
        <dsp:cNvSpPr/>
      </dsp:nvSpPr>
      <dsp:spPr>
        <a:xfrm>
          <a:off x="2339355" y="1657490"/>
          <a:ext cx="4189079" cy="15046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baseline="0" dirty="0"/>
            <a:t>Out-of-the-box search index (Search) </a:t>
          </a:r>
          <a:endParaRPr lang="en-US" sz="2000" kern="1200" dirty="0"/>
        </a:p>
      </dsp:txBody>
      <dsp:txXfrm>
        <a:off x="2339355" y="1657490"/>
        <a:ext cx="4189079" cy="1504669"/>
      </dsp:txXfrm>
    </dsp:sp>
    <dsp:sp modelId="{52B7A9FF-F8B4-44E6-B70A-A555997A9AF7}">
      <dsp:nvSpPr>
        <dsp:cNvPr id="0" name=""/>
        <dsp:cNvSpPr/>
      </dsp:nvSpPr>
      <dsp:spPr>
        <a:xfrm>
          <a:off x="6691645" y="1657490"/>
          <a:ext cx="4189079" cy="7523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baseline="0"/>
            <a:t>Allows you to query the SharePoint search index for sites and pages by constructing the proper search query. </a:t>
          </a:r>
          <a:endParaRPr lang="en-US" sz="1400" kern="1200"/>
        </a:p>
      </dsp:txBody>
      <dsp:txXfrm>
        <a:off x="6691645" y="1657490"/>
        <a:ext cx="4189079" cy="752334"/>
      </dsp:txXfrm>
    </dsp:sp>
    <dsp:sp modelId="{6D0DFF5B-DED2-46DB-AFCD-B5BF1688F352}">
      <dsp:nvSpPr>
        <dsp:cNvPr id="0" name=""/>
        <dsp:cNvSpPr/>
      </dsp:nvSpPr>
      <dsp:spPr>
        <a:xfrm>
          <a:off x="6528435" y="2409825"/>
          <a:ext cx="4189079"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C98D74C-E091-474C-B4EB-D86C86198919}">
      <dsp:nvSpPr>
        <dsp:cNvPr id="0" name=""/>
        <dsp:cNvSpPr/>
      </dsp:nvSpPr>
      <dsp:spPr>
        <a:xfrm>
          <a:off x="6691645" y="2409825"/>
          <a:ext cx="4189079" cy="7523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baseline="0"/>
            <a:t>Another advantage of this over managed navigation is that you benefit from security trimming.</a:t>
          </a:r>
          <a:endParaRPr lang="en-US" sz="1400" kern="1200"/>
        </a:p>
      </dsp:txBody>
      <dsp:txXfrm>
        <a:off x="6691645" y="2409825"/>
        <a:ext cx="4189079" cy="752334"/>
      </dsp:txXfrm>
    </dsp:sp>
    <dsp:sp modelId="{6FFFBD74-D817-4605-83B3-D1323E702A2B}">
      <dsp:nvSpPr>
        <dsp:cNvPr id="0" name=""/>
        <dsp:cNvSpPr/>
      </dsp:nvSpPr>
      <dsp:spPr>
        <a:xfrm>
          <a:off x="2176144" y="3162159"/>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7672FF7-7D32-40FA-8923-34EC9A0FD589}">
      <dsp:nvSpPr>
        <dsp:cNvPr id="0" name=""/>
        <dsp:cNvSpPr/>
      </dsp:nvSpPr>
      <dsp:spPr>
        <a:xfrm>
          <a:off x="2339355" y="3237393"/>
          <a:ext cx="4189079" cy="15046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baseline="0" dirty="0"/>
            <a:t>Custom navigation provider </a:t>
          </a:r>
          <a:endParaRPr lang="en-US" sz="2000" kern="1200" dirty="0"/>
        </a:p>
      </dsp:txBody>
      <dsp:txXfrm>
        <a:off x="2339355" y="3237393"/>
        <a:ext cx="4189079" cy="1504669"/>
      </dsp:txXfrm>
    </dsp:sp>
    <dsp:sp modelId="{7DA344D0-94DF-4D1C-A13E-AD0F9AA5443B}">
      <dsp:nvSpPr>
        <dsp:cNvPr id="0" name=""/>
        <dsp:cNvSpPr/>
      </dsp:nvSpPr>
      <dsp:spPr>
        <a:xfrm>
          <a:off x="6691645" y="3237393"/>
          <a:ext cx="4189079" cy="15046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baseline="0"/>
            <a:t>Needed when the out-of-the-box server-side navigation controls cannot be configured to meet one or more requirements of the proposed design.</a:t>
          </a:r>
          <a:endParaRPr lang="en-US" sz="1400" kern="1200"/>
        </a:p>
      </dsp:txBody>
      <dsp:txXfrm>
        <a:off x="6691645" y="3237393"/>
        <a:ext cx="4189079" cy="1504669"/>
      </dsp:txXfrm>
    </dsp:sp>
    <dsp:sp modelId="{8D19A46B-F483-4E5A-BDEC-FB72D870B2FC}">
      <dsp:nvSpPr>
        <dsp:cNvPr id="0" name=""/>
        <dsp:cNvSpPr/>
      </dsp:nvSpPr>
      <dsp:spPr>
        <a:xfrm>
          <a:off x="2176144" y="4742063"/>
          <a:ext cx="8704580"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D3689F-7A62-4B56-AE82-CBC77B224287}">
      <dsp:nvSpPr>
        <dsp:cNvPr id="0" name=""/>
        <dsp:cNvSpPr/>
      </dsp:nvSpPr>
      <dsp:spPr>
        <a:xfrm>
          <a:off x="0" y="9047"/>
          <a:ext cx="10880725" cy="101085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E073D61-8D46-41B6-B5CD-57123F4A1C6C}">
      <dsp:nvSpPr>
        <dsp:cNvPr id="0" name=""/>
        <dsp:cNvSpPr/>
      </dsp:nvSpPr>
      <dsp:spPr>
        <a:xfrm>
          <a:off x="305783" y="236489"/>
          <a:ext cx="555969" cy="555969"/>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t="4321" b="4321"/>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920CC86-B3BD-4A1E-B08E-784E33D50FB8}">
      <dsp:nvSpPr>
        <dsp:cNvPr id="0" name=""/>
        <dsp:cNvSpPr/>
      </dsp:nvSpPr>
      <dsp:spPr>
        <a:xfrm>
          <a:off x="1651942" y="9047"/>
          <a:ext cx="2597327" cy="10108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982" tIns="106982" rIns="106982" bIns="106982" numCol="1" spcCol="1270" anchor="ctr" anchorCtr="0">
          <a:noAutofit/>
        </a:bodyPr>
        <a:lstStyle/>
        <a:p>
          <a:pPr marL="0" lvl="0" indent="0" algn="l" defTabSz="711200">
            <a:lnSpc>
              <a:spcPct val="100000"/>
            </a:lnSpc>
            <a:spcBef>
              <a:spcPct val="0"/>
            </a:spcBef>
            <a:spcAft>
              <a:spcPct val="35000"/>
            </a:spcAft>
            <a:buNone/>
          </a:pPr>
          <a:r>
            <a:rPr lang="en-US" sz="1600" kern="1200" dirty="0"/>
            <a:t>Prefer modern SharePoint pages and sites</a:t>
          </a:r>
        </a:p>
      </dsp:txBody>
      <dsp:txXfrm>
        <a:off x="1651942" y="9047"/>
        <a:ext cx="2597327" cy="1010853"/>
      </dsp:txXfrm>
    </dsp:sp>
    <dsp:sp modelId="{8498C856-C141-4CC0-BCB2-905095958D2A}">
      <dsp:nvSpPr>
        <dsp:cNvPr id="0" name=""/>
        <dsp:cNvSpPr/>
      </dsp:nvSpPr>
      <dsp:spPr>
        <a:xfrm>
          <a:off x="4213197" y="9047"/>
          <a:ext cx="5855539" cy="10108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982" tIns="106982" rIns="106982" bIns="106982" numCol="1" spcCol="1270" anchor="ctr" anchorCtr="0">
          <a:noAutofit/>
        </a:bodyPr>
        <a:lstStyle/>
        <a:p>
          <a:pPr marL="0" lvl="0" indent="0" algn="l" defTabSz="533400">
            <a:lnSpc>
              <a:spcPct val="100000"/>
            </a:lnSpc>
            <a:spcBef>
              <a:spcPct val="0"/>
            </a:spcBef>
            <a:spcAft>
              <a:spcPct val="35000"/>
            </a:spcAft>
            <a:buNone/>
          </a:pPr>
          <a:r>
            <a:rPr lang="en-US" sz="1200" kern="1200" dirty="0"/>
            <a:t>Modern SharePoint pages and sites are under continuous monitoring and investment for reliability, scalability, and performance.</a:t>
          </a:r>
        </a:p>
        <a:p>
          <a:pPr marL="0" lvl="0" indent="0" algn="l" defTabSz="533400">
            <a:lnSpc>
              <a:spcPct val="100000"/>
            </a:lnSpc>
            <a:spcBef>
              <a:spcPct val="0"/>
            </a:spcBef>
            <a:spcAft>
              <a:spcPct val="35000"/>
            </a:spcAft>
            <a:buNone/>
          </a:pPr>
          <a:r>
            <a:rPr lang="en-US" sz="1200" kern="1200" dirty="0"/>
            <a:t>Classic SharePoint Publishing sites have limited investment for reliability and scalability only.</a:t>
          </a:r>
        </a:p>
      </dsp:txBody>
      <dsp:txXfrm>
        <a:off x="4213197" y="9047"/>
        <a:ext cx="5855539" cy="1010853"/>
      </dsp:txXfrm>
    </dsp:sp>
    <dsp:sp modelId="{EFF85BC6-2CC0-4258-8FE1-4C5C9E0C8083}">
      <dsp:nvSpPr>
        <dsp:cNvPr id="0" name=""/>
        <dsp:cNvSpPr/>
      </dsp:nvSpPr>
      <dsp:spPr>
        <a:xfrm>
          <a:off x="0" y="1272614"/>
          <a:ext cx="10880725" cy="101085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1A2890B-5FE5-4AA7-BAD5-A76CF821FCB6}">
      <dsp:nvSpPr>
        <dsp:cNvPr id="0" name=""/>
        <dsp:cNvSpPr/>
      </dsp:nvSpPr>
      <dsp:spPr>
        <a:xfrm>
          <a:off x="305783" y="1500056"/>
          <a:ext cx="555969" cy="555969"/>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l="8791" r="8791"/>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1B11243-AAD5-42D2-9722-ED914FC2D2AD}">
      <dsp:nvSpPr>
        <dsp:cNvPr id="0" name=""/>
        <dsp:cNvSpPr/>
      </dsp:nvSpPr>
      <dsp:spPr>
        <a:xfrm>
          <a:off x="1651942" y="1272614"/>
          <a:ext cx="2597327" cy="10108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982" tIns="106982" rIns="106982" bIns="106982" numCol="1" spcCol="1270" anchor="ctr" anchorCtr="0">
          <a:noAutofit/>
        </a:bodyPr>
        <a:lstStyle/>
        <a:p>
          <a:pPr marL="0" lvl="0" indent="0" algn="l" defTabSz="711200">
            <a:lnSpc>
              <a:spcPct val="100000"/>
            </a:lnSpc>
            <a:spcBef>
              <a:spcPct val="0"/>
            </a:spcBef>
            <a:spcAft>
              <a:spcPct val="35000"/>
            </a:spcAft>
            <a:buNone/>
          </a:pPr>
          <a:r>
            <a:rPr lang="en-US" sz="1600" kern="1200" dirty="0"/>
            <a:t>Measure Page weight and requests </a:t>
          </a:r>
        </a:p>
      </dsp:txBody>
      <dsp:txXfrm>
        <a:off x="1651942" y="1272614"/>
        <a:ext cx="2597327" cy="1010853"/>
      </dsp:txXfrm>
    </dsp:sp>
    <dsp:sp modelId="{030370BE-3BED-414E-AC4B-F4622D15CB08}">
      <dsp:nvSpPr>
        <dsp:cNvPr id="0" name=""/>
        <dsp:cNvSpPr/>
      </dsp:nvSpPr>
      <dsp:spPr>
        <a:xfrm>
          <a:off x="4211849" y="1272614"/>
          <a:ext cx="5858235" cy="10108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982" tIns="106982" rIns="106982" bIns="106982" numCol="1" spcCol="1270" anchor="ctr" anchorCtr="0">
          <a:noAutofit/>
        </a:bodyPr>
        <a:lstStyle/>
        <a:p>
          <a:pPr marL="0" lvl="0" indent="0" algn="l" defTabSz="533400">
            <a:lnSpc>
              <a:spcPct val="100000"/>
            </a:lnSpc>
            <a:spcBef>
              <a:spcPct val="0"/>
            </a:spcBef>
            <a:spcAft>
              <a:spcPct val="35000"/>
            </a:spcAft>
            <a:buNone/>
          </a:pPr>
          <a:r>
            <a:rPr lang="en-US" sz="1200" kern="1200" dirty="0"/>
            <a:t>Resize images, compress scripts, and remove unnecessary dependencies.</a:t>
          </a:r>
        </a:p>
        <a:p>
          <a:pPr marL="0" lvl="0" indent="0" algn="l" defTabSz="533400">
            <a:lnSpc>
              <a:spcPct val="100000"/>
            </a:lnSpc>
            <a:spcBef>
              <a:spcPct val="0"/>
            </a:spcBef>
            <a:spcAft>
              <a:spcPct val="35000"/>
            </a:spcAft>
            <a:buNone/>
          </a:pPr>
          <a:r>
            <a:rPr lang="en-US" sz="1200" kern="1200" dirty="0"/>
            <a:t>Pages that require multiple server roundtrips are often as slow as the slowest requests. Responding to server requests ties up browser from rendering</a:t>
          </a:r>
        </a:p>
      </dsp:txBody>
      <dsp:txXfrm>
        <a:off x="4211849" y="1272614"/>
        <a:ext cx="5858235" cy="1010853"/>
      </dsp:txXfrm>
    </dsp:sp>
    <dsp:sp modelId="{D893CDCD-C9B5-420F-8D1C-810AE4BEBAEB}">
      <dsp:nvSpPr>
        <dsp:cNvPr id="0" name=""/>
        <dsp:cNvSpPr/>
      </dsp:nvSpPr>
      <dsp:spPr>
        <a:xfrm>
          <a:off x="0" y="2536181"/>
          <a:ext cx="10880725" cy="101085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23B316C-E0D5-4165-9B07-D38AAA0160AB}">
      <dsp:nvSpPr>
        <dsp:cNvPr id="0" name=""/>
        <dsp:cNvSpPr/>
      </dsp:nvSpPr>
      <dsp:spPr>
        <a:xfrm>
          <a:off x="305783" y="2763623"/>
          <a:ext cx="555969" cy="555969"/>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l="3646" r="3646"/>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E66104-0360-4F6A-B0B9-F4C3C4CACC93}">
      <dsp:nvSpPr>
        <dsp:cNvPr id="0" name=""/>
        <dsp:cNvSpPr/>
      </dsp:nvSpPr>
      <dsp:spPr>
        <a:xfrm>
          <a:off x="1651942" y="2536181"/>
          <a:ext cx="2597327" cy="10108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982" tIns="106982" rIns="106982" bIns="106982" numCol="1" spcCol="1270" anchor="ctr" anchorCtr="0">
          <a:noAutofit/>
        </a:bodyPr>
        <a:lstStyle/>
        <a:p>
          <a:pPr marL="0" lvl="0" indent="0" algn="l" defTabSz="711200">
            <a:lnSpc>
              <a:spcPct val="100000"/>
            </a:lnSpc>
            <a:spcBef>
              <a:spcPct val="0"/>
            </a:spcBef>
            <a:spcAft>
              <a:spcPct val="35000"/>
            </a:spcAft>
            <a:buNone/>
          </a:pPr>
          <a:r>
            <a:rPr lang="en-US" sz="1600" kern="1200" dirty="0"/>
            <a:t>Site Navigation recommendations</a:t>
          </a:r>
        </a:p>
      </dsp:txBody>
      <dsp:txXfrm>
        <a:off x="1651942" y="2536181"/>
        <a:ext cx="2597327" cy="1010853"/>
      </dsp:txXfrm>
    </dsp:sp>
    <dsp:sp modelId="{4ADE37EB-78C8-4320-8AF4-2C8142E5D908}">
      <dsp:nvSpPr>
        <dsp:cNvPr id="0" name=""/>
        <dsp:cNvSpPr/>
      </dsp:nvSpPr>
      <dsp:spPr>
        <a:xfrm>
          <a:off x="4211849" y="2536181"/>
          <a:ext cx="5858235" cy="10108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982" tIns="106982" rIns="106982" bIns="106982" numCol="1" spcCol="1270" anchor="ctr" anchorCtr="0">
          <a:noAutofit/>
        </a:bodyPr>
        <a:lstStyle/>
        <a:p>
          <a:pPr marL="0" lvl="0" indent="0" algn="l" defTabSz="533400">
            <a:lnSpc>
              <a:spcPct val="100000"/>
            </a:lnSpc>
            <a:spcBef>
              <a:spcPct val="0"/>
            </a:spcBef>
            <a:spcAft>
              <a:spcPct val="35000"/>
            </a:spcAft>
            <a:buNone/>
          </a:pPr>
          <a:r>
            <a:rPr lang="en-US" sz="1200" kern="1200" dirty="0"/>
            <a:t>Reduce time-to-market and take advantage of product team insight into cloud optimized architectures for delivering rich functionality.</a:t>
          </a:r>
        </a:p>
        <a:p>
          <a:pPr marL="0" lvl="0" indent="0" algn="l" defTabSz="533400">
            <a:lnSpc>
              <a:spcPct val="100000"/>
            </a:lnSpc>
            <a:spcBef>
              <a:spcPct val="0"/>
            </a:spcBef>
            <a:spcAft>
              <a:spcPct val="35000"/>
            </a:spcAft>
            <a:buNone/>
          </a:pPr>
          <a:r>
            <a:rPr lang="en-US" sz="1200" kern="1200"/>
            <a:t>Note: Certain classic SharePoint Publishing features are no longer recommended in the cloud.</a:t>
          </a:r>
        </a:p>
      </dsp:txBody>
      <dsp:txXfrm>
        <a:off x="4211849" y="2536181"/>
        <a:ext cx="5858235" cy="1010853"/>
      </dsp:txXfrm>
    </dsp:sp>
    <dsp:sp modelId="{E00D36D0-BBF0-4844-834F-2800F1E1AEC1}">
      <dsp:nvSpPr>
        <dsp:cNvPr id="0" name=""/>
        <dsp:cNvSpPr/>
      </dsp:nvSpPr>
      <dsp:spPr>
        <a:xfrm>
          <a:off x="0" y="3799748"/>
          <a:ext cx="10880725" cy="101085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58E9F49-77D8-4139-8C63-25BF8DB1D104}">
      <dsp:nvSpPr>
        <dsp:cNvPr id="0" name=""/>
        <dsp:cNvSpPr/>
      </dsp:nvSpPr>
      <dsp:spPr>
        <a:xfrm>
          <a:off x="305783" y="4027190"/>
          <a:ext cx="555969" cy="555969"/>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l="7471" r="7471"/>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A5C2ADF-1CBF-4F6F-B1EE-DE99159285D2}">
      <dsp:nvSpPr>
        <dsp:cNvPr id="0" name=""/>
        <dsp:cNvSpPr/>
      </dsp:nvSpPr>
      <dsp:spPr>
        <a:xfrm>
          <a:off x="1651942" y="3799748"/>
          <a:ext cx="2597327" cy="10108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982" tIns="106982" rIns="106982" bIns="106982" numCol="1" spcCol="1270" anchor="ctr" anchorCtr="0">
          <a:noAutofit/>
        </a:bodyPr>
        <a:lstStyle/>
        <a:p>
          <a:pPr marL="0" lvl="0" indent="0" algn="l" defTabSz="711200">
            <a:lnSpc>
              <a:spcPct val="100000"/>
            </a:lnSpc>
            <a:spcBef>
              <a:spcPct val="0"/>
            </a:spcBef>
            <a:spcAft>
              <a:spcPct val="35000"/>
            </a:spcAft>
            <a:buNone/>
          </a:pPr>
          <a:r>
            <a:rPr lang="en-US" sz="1600" kern="1200" dirty="0"/>
            <a:t>Use CDNs</a:t>
          </a:r>
        </a:p>
      </dsp:txBody>
      <dsp:txXfrm>
        <a:off x="1651942" y="3799748"/>
        <a:ext cx="2597327" cy="1010853"/>
      </dsp:txXfrm>
    </dsp:sp>
    <dsp:sp modelId="{306A893A-4B08-49C7-8A72-F44D990C8842}">
      <dsp:nvSpPr>
        <dsp:cNvPr id="0" name=""/>
        <dsp:cNvSpPr/>
      </dsp:nvSpPr>
      <dsp:spPr>
        <a:xfrm>
          <a:off x="4211849" y="3799748"/>
          <a:ext cx="5858235" cy="10108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982" tIns="106982" rIns="106982" bIns="106982" numCol="1" spcCol="1270" anchor="ctr" anchorCtr="0">
          <a:noAutofit/>
        </a:bodyPr>
        <a:lstStyle/>
        <a:p>
          <a:pPr marL="0" lvl="0" indent="0" algn="l" defTabSz="533400">
            <a:lnSpc>
              <a:spcPct val="100000"/>
            </a:lnSpc>
            <a:spcBef>
              <a:spcPct val="0"/>
            </a:spcBef>
            <a:spcAft>
              <a:spcPct val="35000"/>
            </a:spcAft>
            <a:buNone/>
          </a:pPr>
          <a:r>
            <a:rPr lang="en-US" sz="1200" kern="1200" dirty="0"/>
            <a:t>Microsoft 365 CDNs offer the ability to use SPO CDNs for FREE! Streamlines downloads by storing content close to users</a:t>
          </a:r>
        </a:p>
      </dsp:txBody>
      <dsp:txXfrm>
        <a:off x="4211849" y="3799748"/>
        <a:ext cx="5858235" cy="101085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9DC186-A6F8-4912-8911-69D3E4873B85}">
      <dsp:nvSpPr>
        <dsp:cNvPr id="0" name=""/>
        <dsp:cNvSpPr/>
      </dsp:nvSpPr>
      <dsp:spPr>
        <a:xfrm>
          <a:off x="8008" y="343867"/>
          <a:ext cx="2635256" cy="790576"/>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8244" tIns="208244" rIns="208244" bIns="208244" numCol="1" spcCol="1270" anchor="ctr" anchorCtr="0">
          <a:noAutofit/>
        </a:bodyPr>
        <a:lstStyle/>
        <a:p>
          <a:pPr marL="0" lvl="0" indent="0" algn="ctr" defTabSz="1066800">
            <a:lnSpc>
              <a:spcPct val="90000"/>
            </a:lnSpc>
            <a:spcBef>
              <a:spcPct val="0"/>
            </a:spcBef>
            <a:spcAft>
              <a:spcPct val="35000"/>
            </a:spcAft>
            <a:buNone/>
          </a:pPr>
          <a:r>
            <a:rPr lang="en-US" sz="2400" kern="1200"/>
            <a:t>Defer</a:t>
          </a:r>
        </a:p>
      </dsp:txBody>
      <dsp:txXfrm>
        <a:off x="8008" y="343867"/>
        <a:ext cx="2635256" cy="790576"/>
      </dsp:txXfrm>
    </dsp:sp>
    <dsp:sp modelId="{C336BFFC-B3AB-4B39-ADF5-70BB673C37F3}">
      <dsp:nvSpPr>
        <dsp:cNvPr id="0" name=""/>
        <dsp:cNvSpPr/>
      </dsp:nvSpPr>
      <dsp:spPr>
        <a:xfrm>
          <a:off x="8008" y="1134444"/>
          <a:ext cx="2635256" cy="334133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0305" tIns="260305" rIns="260305" bIns="260305" numCol="1" spcCol="1270" anchor="t" anchorCtr="0">
          <a:noAutofit/>
        </a:bodyPr>
        <a:lstStyle/>
        <a:p>
          <a:pPr marL="0" lvl="0" indent="0" algn="l" defTabSz="800100">
            <a:lnSpc>
              <a:spcPct val="90000"/>
            </a:lnSpc>
            <a:spcBef>
              <a:spcPct val="0"/>
            </a:spcBef>
            <a:spcAft>
              <a:spcPct val="35000"/>
            </a:spcAft>
            <a:buNone/>
          </a:pPr>
          <a:r>
            <a:rPr lang="en-US" sz="1800" kern="1200"/>
            <a:t>Defer Load Content</a:t>
          </a:r>
        </a:p>
        <a:p>
          <a:pPr marL="114300" lvl="1" indent="-114300" algn="l" defTabSz="622300">
            <a:lnSpc>
              <a:spcPct val="90000"/>
            </a:lnSpc>
            <a:spcBef>
              <a:spcPct val="0"/>
            </a:spcBef>
            <a:spcAft>
              <a:spcPct val="15000"/>
            </a:spcAft>
            <a:buChar char="•"/>
          </a:pPr>
          <a:r>
            <a:rPr lang="en-US" sz="1400" kern="1200"/>
            <a:t>Defer loading of items not in view, e.g. submenu items, page 2 of news not visible in initial viewport, view counts and social decorations.</a:t>
          </a:r>
        </a:p>
      </dsp:txBody>
      <dsp:txXfrm>
        <a:off x="8008" y="1134444"/>
        <a:ext cx="2635256" cy="3341337"/>
      </dsp:txXfrm>
    </dsp:sp>
    <dsp:sp modelId="{CB176A3C-8EDA-4426-8BC0-DC0499FD7D9C}">
      <dsp:nvSpPr>
        <dsp:cNvPr id="0" name=""/>
        <dsp:cNvSpPr/>
      </dsp:nvSpPr>
      <dsp:spPr>
        <a:xfrm>
          <a:off x="2751159" y="343867"/>
          <a:ext cx="2635256" cy="790576"/>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8244" tIns="208244" rIns="208244" bIns="208244" numCol="1" spcCol="1270" anchor="ctr" anchorCtr="0">
          <a:noAutofit/>
        </a:bodyPr>
        <a:lstStyle/>
        <a:p>
          <a:pPr marL="0" lvl="0" indent="0" algn="ctr" defTabSz="1066800">
            <a:lnSpc>
              <a:spcPct val="90000"/>
            </a:lnSpc>
            <a:spcBef>
              <a:spcPct val="0"/>
            </a:spcBef>
            <a:spcAft>
              <a:spcPct val="35000"/>
            </a:spcAft>
            <a:buNone/>
          </a:pPr>
          <a:r>
            <a:rPr lang="en-US" sz="2400" kern="1200"/>
            <a:t>Avoid</a:t>
          </a:r>
        </a:p>
      </dsp:txBody>
      <dsp:txXfrm>
        <a:off x="2751159" y="343867"/>
        <a:ext cx="2635256" cy="790576"/>
      </dsp:txXfrm>
    </dsp:sp>
    <dsp:sp modelId="{9FBD2C98-77EC-4EF5-ABBC-8EEAB6DFD547}">
      <dsp:nvSpPr>
        <dsp:cNvPr id="0" name=""/>
        <dsp:cNvSpPr/>
      </dsp:nvSpPr>
      <dsp:spPr>
        <a:xfrm>
          <a:off x="2751159" y="1134444"/>
          <a:ext cx="2635256" cy="334133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0305" tIns="260305" rIns="260305" bIns="260305" numCol="1" spcCol="1270" anchor="t" anchorCtr="0">
          <a:noAutofit/>
        </a:bodyPr>
        <a:lstStyle/>
        <a:p>
          <a:pPr marL="0" lvl="0" indent="0" algn="l" defTabSz="800100">
            <a:lnSpc>
              <a:spcPct val="90000"/>
            </a:lnSpc>
            <a:spcBef>
              <a:spcPct val="0"/>
            </a:spcBef>
            <a:spcAft>
              <a:spcPct val="35000"/>
            </a:spcAft>
            <a:buNone/>
          </a:pPr>
          <a:r>
            <a:rPr lang="en-US" sz="1800" kern="1200"/>
            <a:t>Avoid monolithic hierarchies</a:t>
          </a:r>
        </a:p>
        <a:p>
          <a:pPr marL="114300" lvl="1" indent="-114300" algn="l" defTabSz="622300">
            <a:lnSpc>
              <a:spcPct val="90000"/>
            </a:lnSpc>
            <a:spcBef>
              <a:spcPct val="0"/>
            </a:spcBef>
            <a:spcAft>
              <a:spcPct val="15000"/>
            </a:spcAft>
            <a:buChar char="•"/>
          </a:pPr>
          <a:r>
            <a:rPr lang="en-US" sz="1400" kern="1200"/>
            <a:t>Monolithic site hierarchies are hard to scale, reorganize, and manage. They risk mixing disparate workloads that may not commingle well.</a:t>
          </a:r>
        </a:p>
      </dsp:txBody>
      <dsp:txXfrm>
        <a:off x="2751159" y="1134444"/>
        <a:ext cx="2635256" cy="3341337"/>
      </dsp:txXfrm>
    </dsp:sp>
    <dsp:sp modelId="{D9B67194-5530-4FC8-849F-DD9CEAA0C9F7}">
      <dsp:nvSpPr>
        <dsp:cNvPr id="0" name=""/>
        <dsp:cNvSpPr/>
      </dsp:nvSpPr>
      <dsp:spPr>
        <a:xfrm>
          <a:off x="5494309" y="343867"/>
          <a:ext cx="2635256" cy="790576"/>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8244" tIns="208244" rIns="208244" bIns="208244" numCol="1" spcCol="1270" anchor="ctr" anchorCtr="0">
          <a:noAutofit/>
        </a:bodyPr>
        <a:lstStyle/>
        <a:p>
          <a:pPr marL="0" lvl="0" indent="0" algn="ctr" defTabSz="1066800">
            <a:lnSpc>
              <a:spcPct val="90000"/>
            </a:lnSpc>
            <a:spcBef>
              <a:spcPct val="0"/>
            </a:spcBef>
            <a:spcAft>
              <a:spcPct val="35000"/>
            </a:spcAft>
            <a:buNone/>
          </a:pPr>
          <a:r>
            <a:rPr lang="en-US" sz="2400" kern="1200"/>
            <a:t>Use</a:t>
          </a:r>
        </a:p>
      </dsp:txBody>
      <dsp:txXfrm>
        <a:off x="5494309" y="343867"/>
        <a:ext cx="2635256" cy="790576"/>
      </dsp:txXfrm>
    </dsp:sp>
    <dsp:sp modelId="{EC21720D-5914-4599-A978-5AC169E0C5AE}">
      <dsp:nvSpPr>
        <dsp:cNvPr id="0" name=""/>
        <dsp:cNvSpPr/>
      </dsp:nvSpPr>
      <dsp:spPr>
        <a:xfrm>
          <a:off x="5494309" y="1134444"/>
          <a:ext cx="2635256" cy="334133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0305" tIns="260305" rIns="260305" bIns="260305" numCol="1" spcCol="1270" anchor="t" anchorCtr="0">
          <a:noAutofit/>
        </a:bodyPr>
        <a:lstStyle/>
        <a:p>
          <a:pPr marL="0" lvl="0" indent="0" algn="l" defTabSz="800100">
            <a:lnSpc>
              <a:spcPct val="90000"/>
            </a:lnSpc>
            <a:spcBef>
              <a:spcPct val="0"/>
            </a:spcBef>
            <a:spcAft>
              <a:spcPct val="35000"/>
            </a:spcAft>
            <a:buNone/>
          </a:pPr>
          <a:r>
            <a:rPr lang="en-US" sz="1800" kern="1200"/>
            <a:t>Use last-known-good (LKG) patterns</a:t>
          </a:r>
        </a:p>
        <a:p>
          <a:pPr marL="114300" lvl="1" indent="-114300" algn="l" defTabSz="622300">
            <a:lnSpc>
              <a:spcPct val="90000"/>
            </a:lnSpc>
            <a:spcBef>
              <a:spcPct val="0"/>
            </a:spcBef>
            <a:spcAft>
              <a:spcPct val="15000"/>
            </a:spcAft>
            <a:buChar char="•"/>
          </a:pPr>
          <a:r>
            <a:rPr lang="en-US" sz="1400" kern="1200"/>
            <a:t>When possible, persist what the user previously saw and refresh after critical path rendering. Define appropriate animation when fresh content arrives.</a:t>
          </a:r>
        </a:p>
        <a:p>
          <a:pPr marL="114300" lvl="1" indent="-114300" algn="l" defTabSz="622300">
            <a:lnSpc>
              <a:spcPct val="90000"/>
            </a:lnSpc>
            <a:spcBef>
              <a:spcPct val="0"/>
            </a:spcBef>
            <a:spcAft>
              <a:spcPct val="15000"/>
            </a:spcAft>
            <a:buChar char="•"/>
          </a:pPr>
          <a:r>
            <a:rPr lang="en-US" sz="1400" kern="1200"/>
            <a:t>Take advantage of LKG support for SPFx webparts.</a:t>
          </a:r>
        </a:p>
      </dsp:txBody>
      <dsp:txXfrm>
        <a:off x="5494309" y="1134444"/>
        <a:ext cx="2635256" cy="3341337"/>
      </dsp:txXfrm>
    </dsp:sp>
    <dsp:sp modelId="{BBC3602B-7769-43F3-9CF1-369A6C668235}">
      <dsp:nvSpPr>
        <dsp:cNvPr id="0" name=""/>
        <dsp:cNvSpPr/>
      </dsp:nvSpPr>
      <dsp:spPr>
        <a:xfrm>
          <a:off x="8237460" y="343867"/>
          <a:ext cx="2635256" cy="790576"/>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8244" tIns="208244" rIns="208244" bIns="208244" numCol="1" spcCol="1270" anchor="ctr" anchorCtr="0">
          <a:noAutofit/>
        </a:bodyPr>
        <a:lstStyle/>
        <a:p>
          <a:pPr marL="0" lvl="0" indent="0" algn="ctr" defTabSz="1066800">
            <a:lnSpc>
              <a:spcPct val="90000"/>
            </a:lnSpc>
            <a:spcBef>
              <a:spcPct val="0"/>
            </a:spcBef>
            <a:spcAft>
              <a:spcPct val="35000"/>
            </a:spcAft>
            <a:buNone/>
          </a:pPr>
          <a:r>
            <a:rPr lang="en-US" sz="2400" kern="1200"/>
            <a:t>Limit</a:t>
          </a:r>
        </a:p>
      </dsp:txBody>
      <dsp:txXfrm>
        <a:off x="8237460" y="343867"/>
        <a:ext cx="2635256" cy="790576"/>
      </dsp:txXfrm>
    </dsp:sp>
    <dsp:sp modelId="{BA9A52FF-AF1B-4AE9-B136-6D8731D224F0}">
      <dsp:nvSpPr>
        <dsp:cNvPr id="0" name=""/>
        <dsp:cNvSpPr/>
      </dsp:nvSpPr>
      <dsp:spPr>
        <a:xfrm>
          <a:off x="8237460" y="1134444"/>
          <a:ext cx="2635256" cy="334133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0305" tIns="260305" rIns="260305" bIns="260305" numCol="1" spcCol="1270" anchor="t" anchorCtr="0">
          <a:noAutofit/>
        </a:bodyPr>
        <a:lstStyle/>
        <a:p>
          <a:pPr marL="0" lvl="0" indent="0" algn="l" defTabSz="800100">
            <a:lnSpc>
              <a:spcPct val="90000"/>
            </a:lnSpc>
            <a:spcBef>
              <a:spcPct val="0"/>
            </a:spcBef>
            <a:spcAft>
              <a:spcPct val="35000"/>
            </a:spcAft>
            <a:buNone/>
          </a:pPr>
          <a:r>
            <a:rPr lang="en-US" sz="1800" kern="1200"/>
            <a:t>Limit use of tenant–wide services</a:t>
          </a:r>
        </a:p>
        <a:p>
          <a:pPr marL="114300" lvl="1" indent="-114300" algn="l" defTabSz="622300">
            <a:lnSpc>
              <a:spcPct val="90000"/>
            </a:lnSpc>
            <a:spcBef>
              <a:spcPct val="0"/>
            </a:spcBef>
            <a:spcAft>
              <a:spcPct val="15000"/>
            </a:spcAft>
            <a:buChar char="•"/>
          </a:pPr>
          <a:r>
            <a:rPr lang="en-US" sz="1400" kern="1200"/>
            <a:t>Tenant-wide services such as user profile and taxonomy are tenant-wide single points of failure. Cache required data from these infrequently changing data sources. Data from these services is well suited for LKG patterns</a:t>
          </a:r>
        </a:p>
      </dsp:txBody>
      <dsp:txXfrm>
        <a:off x="8237460" y="1134444"/>
        <a:ext cx="2635256" cy="3341337"/>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7ECB7C-6D59-44F4-8BE8-936116973244}">
      <dsp:nvSpPr>
        <dsp:cNvPr id="0" name=""/>
        <dsp:cNvSpPr/>
      </dsp:nvSpPr>
      <dsp:spPr>
        <a:xfrm>
          <a:off x="14605" y="430890"/>
          <a:ext cx="839343" cy="83934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B52941E-E913-4899-9259-BE5040CF17F9}">
      <dsp:nvSpPr>
        <dsp:cNvPr id="0" name=""/>
        <dsp:cNvSpPr/>
      </dsp:nvSpPr>
      <dsp:spPr>
        <a:xfrm>
          <a:off x="14605" y="1440422"/>
          <a:ext cx="2398124" cy="3597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00100">
            <a:lnSpc>
              <a:spcPct val="100000"/>
            </a:lnSpc>
            <a:spcBef>
              <a:spcPct val="0"/>
            </a:spcBef>
            <a:spcAft>
              <a:spcPct val="35000"/>
            </a:spcAft>
            <a:buNone/>
            <a:defRPr b="1"/>
          </a:pPr>
          <a:r>
            <a:rPr lang="en-US" sz="1800" kern="1200" baseline="0"/>
            <a:t>Do not use CBQ</a:t>
          </a:r>
          <a:endParaRPr lang="en-US" sz="1800" kern="1200"/>
        </a:p>
      </dsp:txBody>
      <dsp:txXfrm>
        <a:off x="14605" y="1440422"/>
        <a:ext cx="2398124" cy="359718"/>
      </dsp:txXfrm>
    </dsp:sp>
    <dsp:sp modelId="{B0ACD81C-3F84-49D9-8F98-433784132377}">
      <dsp:nvSpPr>
        <dsp:cNvPr id="0" name=""/>
        <dsp:cNvSpPr/>
      </dsp:nvSpPr>
      <dsp:spPr>
        <a:xfrm>
          <a:off x="14605" y="1879298"/>
          <a:ext cx="2398124" cy="25094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577850">
            <a:lnSpc>
              <a:spcPct val="100000"/>
            </a:lnSpc>
            <a:spcBef>
              <a:spcPct val="0"/>
            </a:spcBef>
            <a:spcAft>
              <a:spcPct val="35000"/>
            </a:spcAft>
            <a:buNone/>
          </a:pPr>
          <a:r>
            <a:rPr lang="en-US" sz="1300" kern="1200" baseline="0"/>
            <a:t>Cross-list queries simply don’t scale! Content by Search (CBS) for classic publishing and the modern Content Rollup webparts are recommended alternatives.</a:t>
          </a:r>
          <a:endParaRPr lang="en-US" sz="1300" kern="1200"/>
        </a:p>
      </dsp:txBody>
      <dsp:txXfrm>
        <a:off x="14605" y="1879298"/>
        <a:ext cx="2398124" cy="2509461"/>
      </dsp:txXfrm>
    </dsp:sp>
    <dsp:sp modelId="{D3DB0228-269A-4F9C-B068-D16061EA8D7B}">
      <dsp:nvSpPr>
        <dsp:cNvPr id="0" name=""/>
        <dsp:cNvSpPr/>
      </dsp:nvSpPr>
      <dsp:spPr>
        <a:xfrm>
          <a:off x="2832402" y="430890"/>
          <a:ext cx="839343" cy="83934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1F78972-A865-4C3D-97CD-B1840D5066B5}">
      <dsp:nvSpPr>
        <dsp:cNvPr id="0" name=""/>
        <dsp:cNvSpPr/>
      </dsp:nvSpPr>
      <dsp:spPr>
        <a:xfrm>
          <a:off x="2832402" y="1440422"/>
          <a:ext cx="2398124" cy="3597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00100">
            <a:lnSpc>
              <a:spcPct val="100000"/>
            </a:lnSpc>
            <a:spcBef>
              <a:spcPct val="0"/>
            </a:spcBef>
            <a:spcAft>
              <a:spcPct val="35000"/>
            </a:spcAft>
            <a:buNone/>
            <a:defRPr b="1"/>
          </a:pPr>
          <a:r>
            <a:rPr lang="en-US" sz="1800" kern="1200" baseline="0"/>
            <a:t>Beware of jank</a:t>
          </a:r>
          <a:endParaRPr lang="en-US" sz="1800" kern="1200"/>
        </a:p>
      </dsp:txBody>
      <dsp:txXfrm>
        <a:off x="2832402" y="1440422"/>
        <a:ext cx="2398124" cy="359718"/>
      </dsp:txXfrm>
    </dsp:sp>
    <dsp:sp modelId="{DDF11F2D-9609-4396-8199-7FFCE2FF0C62}">
      <dsp:nvSpPr>
        <dsp:cNvPr id="0" name=""/>
        <dsp:cNvSpPr/>
      </dsp:nvSpPr>
      <dsp:spPr>
        <a:xfrm>
          <a:off x="2832402" y="1879298"/>
          <a:ext cx="2398124" cy="25094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577850">
            <a:lnSpc>
              <a:spcPct val="100000"/>
            </a:lnSpc>
            <a:spcBef>
              <a:spcPct val="0"/>
            </a:spcBef>
            <a:spcAft>
              <a:spcPct val="35000"/>
            </a:spcAft>
            <a:buNone/>
          </a:pPr>
          <a:r>
            <a:rPr lang="en-US" sz="1300" kern="1200" baseline="0"/>
            <a:t>Be conscious of jank – rendering content late causing content shifting, redraw, flash of invisible text</a:t>
          </a:r>
          <a:endParaRPr lang="en-US" sz="1300" kern="1200"/>
        </a:p>
      </dsp:txBody>
      <dsp:txXfrm>
        <a:off x="2832402" y="1879298"/>
        <a:ext cx="2398124" cy="2509461"/>
      </dsp:txXfrm>
    </dsp:sp>
    <dsp:sp modelId="{1FF9FFBE-AA54-4981-8F19-D8F346DA2F99}">
      <dsp:nvSpPr>
        <dsp:cNvPr id="0" name=""/>
        <dsp:cNvSpPr/>
      </dsp:nvSpPr>
      <dsp:spPr>
        <a:xfrm>
          <a:off x="5650198" y="430890"/>
          <a:ext cx="839343" cy="83934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796432-083B-41FC-93A8-E9A787DD6B2B}">
      <dsp:nvSpPr>
        <dsp:cNvPr id="0" name=""/>
        <dsp:cNvSpPr/>
      </dsp:nvSpPr>
      <dsp:spPr>
        <a:xfrm>
          <a:off x="5650198" y="1440422"/>
          <a:ext cx="2398124" cy="3597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00100">
            <a:lnSpc>
              <a:spcPct val="100000"/>
            </a:lnSpc>
            <a:spcBef>
              <a:spcPct val="0"/>
            </a:spcBef>
            <a:spcAft>
              <a:spcPct val="35000"/>
            </a:spcAft>
            <a:buNone/>
            <a:defRPr b="1"/>
          </a:pPr>
          <a:r>
            <a:rPr lang="en-US" sz="1800" kern="1200" baseline="0"/>
            <a:t>Avoid iframe</a:t>
          </a:r>
          <a:endParaRPr lang="en-US" sz="1800" kern="1200"/>
        </a:p>
      </dsp:txBody>
      <dsp:txXfrm>
        <a:off x="5650198" y="1440422"/>
        <a:ext cx="2398124" cy="359718"/>
      </dsp:txXfrm>
    </dsp:sp>
    <dsp:sp modelId="{F465CFD9-F91D-448A-B19D-829E45314153}">
      <dsp:nvSpPr>
        <dsp:cNvPr id="0" name=""/>
        <dsp:cNvSpPr/>
      </dsp:nvSpPr>
      <dsp:spPr>
        <a:xfrm>
          <a:off x="5650198" y="1879298"/>
          <a:ext cx="2398124" cy="25094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577850">
            <a:lnSpc>
              <a:spcPct val="100000"/>
            </a:lnSpc>
            <a:spcBef>
              <a:spcPct val="0"/>
            </a:spcBef>
            <a:spcAft>
              <a:spcPct val="35000"/>
            </a:spcAft>
            <a:buNone/>
          </a:pPr>
          <a:r>
            <a:rPr lang="en-US" sz="1300" kern="1200" baseline="0"/>
            <a:t>iframes incur a full separate connection and request lifecycle </a:t>
          </a:r>
          <a:endParaRPr lang="en-US" sz="1300" kern="1200"/>
        </a:p>
        <a:p>
          <a:pPr marL="0" lvl="0" indent="0" algn="l" defTabSz="577850">
            <a:lnSpc>
              <a:spcPct val="100000"/>
            </a:lnSpc>
            <a:spcBef>
              <a:spcPct val="0"/>
            </a:spcBef>
            <a:spcAft>
              <a:spcPct val="35000"/>
            </a:spcAft>
            <a:buNone/>
          </a:pPr>
          <a:r>
            <a:rPr lang="en-US" sz="1300" kern="1200" baseline="0"/>
            <a:t>Load potentially duplicative dependencies</a:t>
          </a:r>
          <a:endParaRPr lang="en-US" sz="1300" kern="1200"/>
        </a:p>
        <a:p>
          <a:pPr marL="0" lvl="0" indent="0" algn="l" defTabSz="577850">
            <a:lnSpc>
              <a:spcPct val="100000"/>
            </a:lnSpc>
            <a:spcBef>
              <a:spcPct val="0"/>
            </a:spcBef>
            <a:spcAft>
              <a:spcPct val="35000"/>
            </a:spcAft>
            <a:buNone/>
          </a:pPr>
          <a:r>
            <a:rPr lang="en-US" sz="1300" kern="1200" baseline="0"/>
            <a:t>Cost extra memory, </a:t>
          </a:r>
          <a:endParaRPr lang="en-US" sz="1300" kern="1200"/>
        </a:p>
        <a:p>
          <a:pPr marL="0" lvl="0" indent="0" algn="l" defTabSz="577850">
            <a:lnSpc>
              <a:spcPct val="100000"/>
            </a:lnSpc>
            <a:spcBef>
              <a:spcPct val="0"/>
            </a:spcBef>
            <a:spcAft>
              <a:spcPct val="35000"/>
            </a:spcAft>
            <a:buNone/>
          </a:pPr>
          <a:r>
            <a:rPr lang="en-US" sz="1300" kern="1200" baseline="0"/>
            <a:t>Don’t work well on mobile devices.</a:t>
          </a:r>
          <a:endParaRPr lang="en-US" sz="1300" kern="1200"/>
        </a:p>
        <a:p>
          <a:pPr marL="0" lvl="0" indent="0" algn="l" defTabSz="577850">
            <a:lnSpc>
              <a:spcPct val="100000"/>
            </a:lnSpc>
            <a:spcBef>
              <a:spcPct val="0"/>
            </a:spcBef>
            <a:spcAft>
              <a:spcPct val="35000"/>
            </a:spcAft>
            <a:buNone/>
          </a:pPr>
          <a:r>
            <a:rPr lang="en-US" sz="1300" kern="1200" baseline="0"/>
            <a:t>Limited iframe usage may be unavoidable, so defer load if possible</a:t>
          </a:r>
          <a:endParaRPr lang="en-US" sz="1300" kern="1200"/>
        </a:p>
      </dsp:txBody>
      <dsp:txXfrm>
        <a:off x="5650198" y="1879298"/>
        <a:ext cx="2398124" cy="2509461"/>
      </dsp:txXfrm>
    </dsp:sp>
    <dsp:sp modelId="{139F1EA8-55E0-413D-8666-E933AB7B1D2B}">
      <dsp:nvSpPr>
        <dsp:cNvPr id="0" name=""/>
        <dsp:cNvSpPr/>
      </dsp:nvSpPr>
      <dsp:spPr>
        <a:xfrm>
          <a:off x="8467994" y="430890"/>
          <a:ext cx="839343" cy="839343"/>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102A5AE-9F47-45BA-9DB9-D0FAF5E643C8}">
      <dsp:nvSpPr>
        <dsp:cNvPr id="0" name=""/>
        <dsp:cNvSpPr/>
      </dsp:nvSpPr>
      <dsp:spPr>
        <a:xfrm>
          <a:off x="8467994" y="1440422"/>
          <a:ext cx="2398124" cy="3597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00100">
            <a:lnSpc>
              <a:spcPct val="100000"/>
            </a:lnSpc>
            <a:spcBef>
              <a:spcPct val="0"/>
            </a:spcBef>
            <a:spcAft>
              <a:spcPct val="35000"/>
            </a:spcAft>
            <a:buNone/>
            <a:defRPr b="1"/>
          </a:pPr>
          <a:r>
            <a:rPr lang="en-US" sz="1800" kern="1200" baseline="0"/>
            <a:t>Don’t do load testing</a:t>
          </a:r>
          <a:endParaRPr lang="en-US" sz="1800" kern="1200"/>
        </a:p>
      </dsp:txBody>
      <dsp:txXfrm>
        <a:off x="8467994" y="1440422"/>
        <a:ext cx="2398124" cy="359718"/>
      </dsp:txXfrm>
    </dsp:sp>
    <dsp:sp modelId="{70AF8628-34A3-4617-AA6F-40BC1B011902}">
      <dsp:nvSpPr>
        <dsp:cNvPr id="0" name=""/>
        <dsp:cNvSpPr/>
      </dsp:nvSpPr>
      <dsp:spPr>
        <a:xfrm>
          <a:off x="8467994" y="1879298"/>
          <a:ext cx="2398124" cy="25094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577850">
            <a:lnSpc>
              <a:spcPct val="100000"/>
            </a:lnSpc>
            <a:spcBef>
              <a:spcPct val="0"/>
            </a:spcBef>
            <a:spcAft>
              <a:spcPct val="35000"/>
            </a:spcAft>
            <a:buNone/>
          </a:pPr>
          <a:r>
            <a:rPr lang="en-US" sz="1300" kern="1200" baseline="0"/>
            <a:t>SharePoint Online is designed to dynamically rebalance as load increases. It is designed to throttle outlier load spikes to protect tenants from each other and from themselves (e.g. runaway custom code).</a:t>
          </a:r>
          <a:endParaRPr lang="en-US" sz="1300" kern="1200"/>
        </a:p>
        <a:p>
          <a:pPr marL="0" lvl="0" indent="0" algn="l" defTabSz="577850">
            <a:lnSpc>
              <a:spcPct val="100000"/>
            </a:lnSpc>
            <a:spcBef>
              <a:spcPct val="0"/>
            </a:spcBef>
            <a:spcAft>
              <a:spcPct val="35000"/>
            </a:spcAft>
            <a:buNone/>
          </a:pPr>
          <a:r>
            <a:rPr lang="en-US" sz="1300" kern="1200" baseline="0"/>
            <a:t>Load testing is futile…it looks like runaway code! Follow portal launch best practices instead.</a:t>
          </a:r>
          <a:endParaRPr lang="en-US" sz="1300" kern="1200"/>
        </a:p>
      </dsp:txBody>
      <dsp:txXfrm>
        <a:off x="8467994" y="1879298"/>
        <a:ext cx="2398124" cy="250946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38B38F-1C8E-44C9-9221-944991C1EB78}">
      <dsp:nvSpPr>
        <dsp:cNvPr id="0" name=""/>
        <dsp:cNvSpPr/>
      </dsp:nvSpPr>
      <dsp:spPr>
        <a:xfrm>
          <a:off x="0" y="23533"/>
          <a:ext cx="9929720" cy="592020"/>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b="0" i="0" kern="1200" baseline="0" dirty="0"/>
            <a:t>User t</a:t>
          </a:r>
          <a:r>
            <a:rPr lang="en-US" sz="2300" kern="1200" dirty="0"/>
            <a:t>raffic to SPO routed through main office </a:t>
          </a:r>
        </a:p>
      </dsp:txBody>
      <dsp:txXfrm>
        <a:off x="28900" y="52433"/>
        <a:ext cx="9871920" cy="53422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4.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r="http://schemas.openxmlformats.org/officeDocument/2006/relationships" xmlns:dgm1612="http://schemas.microsoft.com/office/drawing/2016/12/diagram"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7.xml><?xml version="1.0" encoding="utf-8"?>
<dgm:layoutDef xmlns:dgm="http://schemas.openxmlformats.org/drawingml/2006/diagram" xmlns:a="http://schemas.openxmlformats.org/drawingml/2006/main" uniqueId="urn:microsoft.com/office/officeart/2016/7/layout/HorizontalActionList">
  <dgm:title val="Horizontal Action List"/>
  <dgm:desc val="Used to show non-sequential or grouped lists of information. Works well with large amounts of text. All text has the same level of emphasis, and direction is not implied."/>
  <dgm:catLst>
    <dgm:cat type="list" pri="5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fact="0.6"/>
      <dgm:constr type="h" for="des" forName="composite" op="equ"/>
      <dgm:constr type="w" for="ch" forName="composite" refType="w"/>
      <dgm:constr type="w" for="des" forName="parTx"/>
      <dgm:constr type="h" for="des" forName="parTx" op="equ"/>
      <dgm:constr type="w" for="des" forName="desTx"/>
      <dgm:constr type="primFontSz" for="des" forName="parTx" val="54"/>
      <dgm:constr type="primFontSz" for="des" forName="desTx" refType="primFontSz" refFor="des" refForName="parTx" op="lte" fact="0.75"/>
      <dgm:constr type="h" for="des" forName="desTx" op="equ"/>
      <dgm:constr type="w" for="ch" forName="space" op="equ" val="3"/>
    </dgm:constrLst>
    <dgm:ruleLst>
      <dgm:rule type="w" for="ch" forName="composite" val="0" fact="NaN" max="NaN"/>
    </dgm:ruleLst>
    <dgm:forEach name="Name6"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varLst>
          <dgm:alg type="tx"/>
          <dgm:shape xmlns:r="http://schemas.openxmlformats.org/officeDocument/2006/relationships" type="rect" r:blip="">
            <dgm:adjLst/>
          </dgm:shape>
          <dgm:presOf axis="self" ptType="node"/>
          <dgm:constrLst>
            <dgm:constr type="h" refType="w" op="lte" fact="0.3"/>
            <dgm:constr type="h"/>
            <dgm:constr type="tMarg" refType="w" fact="0.224"/>
            <dgm:constr type="bMarg" refType="w" fact="0.224"/>
            <dgm:constr type="lMarg" refType="w" fact="0.224"/>
            <dgm:constr type="rMarg" refType="w" fact="0.224"/>
          </dgm:constrLst>
          <dgm:ruleLst>
            <dgm:rule type="h" val="INF" fact="NaN" max="NaN"/>
            <dgm:rule type="primFontSz" val="14" fact="NaN" max="NaN"/>
          </dgm:ruleLst>
        </dgm:layoutNode>
        <dgm:layoutNode name="desTx" styleLbl="alignAccFollowNode1">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primFontSz" val="28"/>
            <dgm:constr type="tMarg" refType="w" fact="0.28"/>
            <dgm:constr type="bMarg" refType="w" fact="0.28"/>
            <dgm:constr type="lMarg" refType="w" fact="0.28"/>
            <dgm:constr type="rMarg" refType="w" fact="0.28"/>
          </dgm:constrLst>
          <dgm:ruleLst>
            <dgm:rule type="h" val="INF" fact="NaN" max="NaN"/>
            <dgm:rule type="primFontSz" val="11"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r="http://schemas.openxmlformats.org/officeDocument/2006/relationships" xmlns:dgm1612="http://schemas.microsoft.com/office/drawing/2016/12/diagram"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1/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red-gate.com/simple-talk/dotnet/asp-net/javascript-single-threaded"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www.sohamkamani.com/blog/2016/03/14/wrapping-your-head-around-async-programming"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sharepoint/dev/sp-add-ins/make-batch-requests-with-the-rest-apis"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azure.microsoft.com/services/cache/"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http2.akamai.com/demo"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127424865"/>
      </p:ext>
    </p:extLst>
  </p:cSld>
  <p:clrMapOvr>
    <a:masterClrMapping/>
  </p:clrMapOvr>
</p:notes>
</file>

<file path=ppt/notesSlides/notesSlide1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lvl="1" indent="0" defTabSz="1733550">
              <a:lnSpc>
                <a:spcPct val="90000"/>
              </a:lnSpc>
              <a:spcBef>
                <a:spcPct val="0"/>
              </a:spcBef>
              <a:spcAft>
                <a:spcPct val="20000"/>
              </a:spcAft>
              <a:buFontTx/>
              <a:buNone/>
              <a:defRPr/>
            </a:pPr>
            <a:r>
              <a:rPr lang="en-US" dirty="0">
                <a:solidFill>
                  <a:srgbClr val="505050">
                    <a:hueOff val="0"/>
                    <a:satOff val="0"/>
                    <a:lumOff val="0"/>
                    <a:alphaOff val="0"/>
                  </a:srgbClr>
                </a:solidFill>
              </a:rPr>
              <a:t>Avoid implementing deep hierarchies in a single site collection with unique permissions. </a:t>
            </a:r>
          </a:p>
          <a:p>
            <a:pPr marL="0" lvl="1" defTabSz="1733550">
              <a:lnSpc>
                <a:spcPct val="90000"/>
              </a:lnSpc>
              <a:spcBef>
                <a:spcPct val="0"/>
              </a:spcBef>
              <a:spcAft>
                <a:spcPct val="20000"/>
              </a:spcAft>
              <a:defRPr/>
            </a:pPr>
            <a:endParaRPr lang="en-US" dirty="0">
              <a:solidFill>
                <a:srgbClr val="505050">
                  <a:hueOff val="0"/>
                  <a:satOff val="0"/>
                  <a:lumOff val="0"/>
                  <a:alphaOff val="0"/>
                </a:srgbClr>
              </a:solidFill>
            </a:endParaRPr>
          </a:p>
          <a:p>
            <a:pPr marL="0" marR="0" lvl="1" indent="0" algn="l" defTabSz="1733550" rtl="0" eaLnBrk="1" fontAlgn="auto" latinLnBrk="0" hangingPunct="1">
              <a:lnSpc>
                <a:spcPct val="90000"/>
              </a:lnSpc>
              <a:spcBef>
                <a:spcPct val="0"/>
              </a:spcBef>
              <a:spcAft>
                <a:spcPct val="20000"/>
              </a:spcAft>
              <a:buClrTx/>
              <a:buSzTx/>
              <a:buFontTx/>
              <a:buNone/>
              <a:tabLst/>
              <a:defRPr/>
            </a:pPr>
            <a:r>
              <a:rPr lang="en-US" dirty="0">
                <a:solidFill>
                  <a:srgbClr val="505050">
                    <a:hueOff val="0"/>
                    <a:satOff val="0"/>
                    <a:lumOff val="0"/>
                    <a:alphaOff val="0"/>
                  </a:srgbClr>
                </a:solidFill>
                <a:latin typeface="Segoe UI"/>
              </a:rPr>
              <a:t>Use a flat site collection site structure that avoids using sub sites with a site collection. </a:t>
            </a:r>
          </a:p>
          <a:p>
            <a:pPr marL="895335" lvl="2" indent="-285750" defTabSz="1733550">
              <a:lnSpc>
                <a:spcPct val="90000"/>
              </a:lnSpc>
              <a:spcBef>
                <a:spcPct val="0"/>
              </a:spcBef>
              <a:spcAft>
                <a:spcPct val="20000"/>
              </a:spcAft>
              <a:buFontTx/>
              <a:buChar char="•"/>
              <a:defRPr/>
            </a:pPr>
            <a:r>
              <a:rPr lang="en-US" dirty="0">
                <a:solidFill>
                  <a:srgbClr val="505050">
                    <a:hueOff val="0"/>
                    <a:satOff val="0"/>
                    <a:lumOff val="0"/>
                    <a:alphaOff val="0"/>
                  </a:srgbClr>
                </a:solidFill>
                <a:latin typeface="Segoe UI"/>
              </a:rPr>
              <a:t>Especially in company wide portal site collections</a:t>
            </a:r>
            <a:endParaRPr kumimoji="0" lang="nb-NO" sz="3900" b="0" i="0" u="none" strike="noStrike" kern="1200" cap="none" spc="0" normalizeH="0" baseline="0" noProof="0" dirty="0">
              <a:ln>
                <a:noFill/>
              </a:ln>
              <a:solidFill>
                <a:srgbClr val="505050">
                  <a:hueOff val="0"/>
                  <a:satOff val="0"/>
                  <a:lumOff val="0"/>
                  <a:alphaOff val="0"/>
                </a:srgbClr>
              </a:solidFill>
              <a:effectLst/>
              <a:uLnTx/>
              <a:uFillTx/>
              <a:latin typeface="Segoe UI Light"/>
              <a:ea typeface="Segoe UI" pitchFamily="34" charset="0"/>
              <a:cs typeface="Segoe UI" pitchFamily="34" charset="0"/>
            </a:endParaRPr>
          </a:p>
          <a:p>
            <a:pPr>
              <a:spcBef>
                <a:spcPts val="0"/>
              </a:spcBef>
              <a:spcAft>
                <a:spcPts val="0"/>
              </a:spcAft>
            </a:pPr>
            <a:endParaRPr lang="en-US" b="1"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78136543"/>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lvl="1" indent="0" defTabSz="977900">
              <a:lnSpc>
                <a:spcPct val="90000"/>
              </a:lnSpc>
              <a:spcBef>
                <a:spcPct val="0"/>
              </a:spcBef>
              <a:spcAft>
                <a:spcPct val="20000"/>
              </a:spcAft>
              <a:buNone/>
            </a:pPr>
            <a:r>
              <a:rPr lang="en-US" dirty="0"/>
              <a:t>Using of out-of-the-box </a:t>
            </a:r>
            <a:r>
              <a:rPr lang="en-US" b="1" dirty="0"/>
              <a:t>structural</a:t>
            </a:r>
            <a:r>
              <a:rPr lang="en-US" dirty="0"/>
              <a:t> site navigation can easily become very resource-intensive (especially for complex site collection structures) and can result in significantly slower page-load performance. </a:t>
            </a:r>
          </a:p>
          <a:p>
            <a:pPr marL="228600" lvl="1" indent="-228600" defTabSz="977900">
              <a:lnSpc>
                <a:spcPct val="90000"/>
              </a:lnSpc>
              <a:spcBef>
                <a:spcPct val="0"/>
              </a:spcBef>
              <a:spcAft>
                <a:spcPct val="20000"/>
              </a:spcAft>
              <a:buChar char="•"/>
            </a:pPr>
            <a:endParaRPr lang="en-US" dirty="0"/>
          </a:p>
          <a:p>
            <a:pPr marL="0" lvl="1" indent="0" defTabSz="977900">
              <a:lnSpc>
                <a:spcPct val="90000"/>
              </a:lnSpc>
              <a:spcBef>
                <a:spcPct val="0"/>
              </a:spcBef>
              <a:spcAft>
                <a:spcPct val="20000"/>
              </a:spcAft>
              <a:buNone/>
            </a:pPr>
            <a:r>
              <a:rPr lang="en-US" dirty="0">
                <a:solidFill>
                  <a:srgbClr val="505050">
                    <a:hueOff val="0"/>
                    <a:satOff val="0"/>
                    <a:lumOff val="0"/>
                    <a:alphaOff val="0"/>
                  </a:srgbClr>
                </a:solidFill>
              </a:rPr>
              <a:t>Using a custom navigation solution that does not cache the navigation nodes it receives can lead to slow page-load performance.</a:t>
            </a:r>
          </a:p>
          <a:p>
            <a:pPr>
              <a:spcBef>
                <a:spcPts val="0"/>
              </a:spcBef>
              <a:spcAft>
                <a:spcPts val="0"/>
              </a:spcAft>
            </a:pPr>
            <a:endParaRPr lang="en-US" b="1" dirty="0"/>
          </a:p>
          <a:p>
            <a:pPr>
              <a:spcBef>
                <a:spcPts val="0"/>
              </a:spcBef>
              <a:spcAft>
                <a:spcPts val="0"/>
              </a:spcAft>
            </a:pPr>
            <a:r>
              <a:rPr lang="en-US" b="1" dirty="0"/>
              <a:t>For more details see </a:t>
            </a:r>
          </a:p>
          <a:p>
            <a:pPr>
              <a:spcBef>
                <a:spcPts val="0"/>
              </a:spcBef>
              <a:spcAft>
                <a:spcPts val="0"/>
              </a:spcAft>
            </a:pPr>
            <a:r>
              <a:rPr lang="en-US" sz="1050" b="1" i="0" u="none" strike="noStrike" kern="1200" dirty="0">
                <a:solidFill>
                  <a:schemeClr val="tx1"/>
                </a:solidFill>
                <a:effectLst/>
                <a:latin typeface="Segoe UI" pitchFamily="34" charset="0"/>
                <a:ea typeface="Segoe UI" pitchFamily="34" charset="0"/>
                <a:cs typeface="Segoe UI" pitchFamily="34" charset="0"/>
              </a:rPr>
              <a:t>Navigation options for SharePoint Online</a:t>
            </a:r>
            <a:endParaRPr lang="en-US" b="1" dirty="0"/>
          </a:p>
          <a:p>
            <a:pPr>
              <a:spcBef>
                <a:spcPts val="0"/>
              </a:spcBef>
              <a:spcAft>
                <a:spcPts val="0"/>
              </a:spcAft>
            </a:pPr>
            <a:r>
              <a:rPr lang="en-US" b="0" dirty="0"/>
              <a:t>https://docs.microsoft.com/en-us/office365/enterprise/navigation-options-for-sharepoint-online?redirectSourcePath=%252fen-us%252farticle%252fNavigation-options-for-SharePoint-Online-adb92b80-b342-4ecb-99a1-da2a2b4782eb</a:t>
            </a:r>
          </a:p>
          <a:p>
            <a:pPr>
              <a:spcBef>
                <a:spcPts val="0"/>
              </a:spcBef>
              <a:spcAft>
                <a:spcPts val="0"/>
              </a:spcAft>
            </a:pPr>
            <a:endParaRPr lang="en-US" b="0" dirty="0"/>
          </a:p>
          <a:p>
            <a:pPr marL="228600" lvl="1" indent="-228600" defTabSz="977900">
              <a:lnSpc>
                <a:spcPct val="90000"/>
              </a:lnSpc>
              <a:spcBef>
                <a:spcPct val="0"/>
              </a:spcBef>
              <a:spcAft>
                <a:spcPct val="20000"/>
              </a:spcAft>
              <a:buFontTx/>
              <a:buChar char="•"/>
            </a:pPr>
            <a:r>
              <a:rPr lang="en-US" sz="1800" b="1" dirty="0"/>
              <a:t>Out-of-the-box managed navigation (MMS)</a:t>
            </a:r>
          </a:p>
          <a:p>
            <a:pPr marL="838185" lvl="2" indent="-228600" defTabSz="977900">
              <a:lnSpc>
                <a:spcPct val="90000"/>
              </a:lnSpc>
              <a:spcBef>
                <a:spcPct val="0"/>
              </a:spcBef>
              <a:spcAft>
                <a:spcPct val="20000"/>
              </a:spcAft>
              <a:buFontTx/>
              <a:buChar char="•"/>
            </a:pPr>
            <a:r>
              <a:rPr lang="en-US" sz="1600" dirty="0"/>
              <a:t>Allows you to use a Managed Metadata Service (MMS) Term set to configure the navigation nodes for a given site collection</a:t>
            </a:r>
          </a:p>
          <a:p>
            <a:pPr marL="838185" lvl="2" indent="-228600" defTabSz="977900">
              <a:lnSpc>
                <a:spcPct val="90000"/>
              </a:lnSpc>
              <a:spcBef>
                <a:spcPct val="0"/>
              </a:spcBef>
              <a:spcAft>
                <a:spcPct val="20000"/>
              </a:spcAft>
              <a:buFontTx/>
              <a:buChar char="•"/>
            </a:pPr>
            <a:r>
              <a:rPr lang="en-US" sz="1600" dirty="0"/>
              <a:t>Out-of-the-box navigation display controls automatically consume this data </a:t>
            </a:r>
          </a:p>
          <a:p>
            <a:pPr marL="838185" lvl="2" indent="-228600" defTabSz="977900">
              <a:lnSpc>
                <a:spcPct val="90000"/>
              </a:lnSpc>
              <a:spcBef>
                <a:spcPct val="0"/>
              </a:spcBef>
              <a:spcAft>
                <a:spcPct val="20000"/>
              </a:spcAft>
              <a:buFontTx/>
              <a:buChar char="•"/>
            </a:pPr>
            <a:r>
              <a:rPr lang="en-US" sz="1600" dirty="0"/>
              <a:t>The out-of-the-box navigation management page provides an easy-to-use user interface to manage the navigation nodes within an </a:t>
            </a:r>
            <a:r>
              <a:rPr lang="en-US" sz="1600" i="1" dirty="0"/>
              <a:t>unconstrained</a:t>
            </a:r>
            <a:r>
              <a:rPr lang="en-US" sz="1600" dirty="0"/>
              <a:t> hierarchy (unlimited depth).</a:t>
            </a:r>
          </a:p>
          <a:p>
            <a:pPr marL="838185" lvl="2" indent="-228600" defTabSz="977900">
              <a:lnSpc>
                <a:spcPct val="90000"/>
              </a:lnSpc>
              <a:spcBef>
                <a:spcPct val="0"/>
              </a:spcBef>
              <a:spcAft>
                <a:spcPct val="20000"/>
              </a:spcAft>
              <a:buFontTx/>
              <a:buChar char="•"/>
            </a:pPr>
            <a:r>
              <a:rPr lang="en-US" sz="1600" dirty="0"/>
              <a:t>Keep in mind that managed navigation is not security-trimmed, so your users might see links that they cannot access.</a:t>
            </a:r>
          </a:p>
          <a:p>
            <a:pPr marL="228600" lvl="1" indent="-228600" defTabSz="977900">
              <a:lnSpc>
                <a:spcPct val="90000"/>
              </a:lnSpc>
              <a:spcBef>
                <a:spcPct val="0"/>
              </a:spcBef>
              <a:spcAft>
                <a:spcPct val="20000"/>
              </a:spcAft>
              <a:buFontTx/>
              <a:buChar char="•"/>
            </a:pPr>
            <a:r>
              <a:rPr lang="en-US" sz="1800" b="1" dirty="0"/>
              <a:t>Out-of-the-box search index (Search) </a:t>
            </a:r>
          </a:p>
          <a:p>
            <a:pPr marL="838185" lvl="2" indent="-228600" defTabSz="977900">
              <a:lnSpc>
                <a:spcPct val="90000"/>
              </a:lnSpc>
              <a:spcBef>
                <a:spcPct val="0"/>
              </a:spcBef>
              <a:spcAft>
                <a:spcPct val="20000"/>
              </a:spcAft>
              <a:buFontTx/>
              <a:buChar char="•"/>
            </a:pPr>
            <a:r>
              <a:rPr lang="en-US" sz="1600" dirty="0"/>
              <a:t>Allows you to query the SharePoint search index for sites and pages by constructing the proper search query. </a:t>
            </a:r>
          </a:p>
          <a:p>
            <a:pPr marL="838185" lvl="2" indent="-228600" defTabSz="977900">
              <a:lnSpc>
                <a:spcPct val="90000"/>
              </a:lnSpc>
              <a:spcBef>
                <a:spcPct val="0"/>
              </a:spcBef>
              <a:spcAft>
                <a:spcPct val="20000"/>
              </a:spcAft>
              <a:buFontTx/>
              <a:buChar char="•"/>
            </a:pPr>
            <a:r>
              <a:rPr lang="en-US" sz="1600" dirty="0"/>
              <a:t>There's no specific out-of-the-box navigation management page and you must implement custom navigation display controls in custom </a:t>
            </a:r>
            <a:r>
              <a:rPr lang="en-US" sz="1600" dirty="0" err="1"/>
              <a:t>masterpage</a:t>
            </a:r>
            <a:r>
              <a:rPr lang="en-US" sz="1600" dirty="0"/>
              <a:t> to consume the data retrieved from the search queries.</a:t>
            </a:r>
          </a:p>
          <a:p>
            <a:pPr marL="838185" lvl="2" indent="-228600" defTabSz="977900">
              <a:lnSpc>
                <a:spcPct val="90000"/>
              </a:lnSpc>
              <a:spcBef>
                <a:spcPct val="0"/>
              </a:spcBef>
              <a:spcAft>
                <a:spcPct val="20000"/>
              </a:spcAft>
              <a:buFontTx/>
              <a:buChar char="•"/>
            </a:pPr>
            <a:r>
              <a:rPr lang="en-US" sz="1600" dirty="0"/>
              <a:t>The main advantage of this over managed navigation is that you benefit from security trimming.</a:t>
            </a:r>
          </a:p>
          <a:p>
            <a:pPr marL="228600" lvl="1" indent="-228600" defTabSz="977900">
              <a:lnSpc>
                <a:spcPct val="90000"/>
              </a:lnSpc>
              <a:spcBef>
                <a:spcPct val="0"/>
              </a:spcBef>
              <a:spcAft>
                <a:spcPct val="20000"/>
              </a:spcAft>
              <a:buFontTx/>
              <a:buChar char="•"/>
            </a:pPr>
            <a:r>
              <a:rPr lang="en-US" sz="1800" b="1" dirty="0"/>
              <a:t>Custom navigation provider </a:t>
            </a:r>
          </a:p>
          <a:p>
            <a:pPr marL="838185" lvl="2" indent="-228600" defTabSz="977900">
              <a:lnSpc>
                <a:spcPct val="90000"/>
              </a:lnSpc>
              <a:spcBef>
                <a:spcPct val="0"/>
              </a:spcBef>
              <a:spcAft>
                <a:spcPct val="20000"/>
              </a:spcAft>
              <a:buFontTx/>
              <a:buChar char="•"/>
            </a:pPr>
            <a:r>
              <a:rPr lang="en-US" sz="1600" dirty="0"/>
              <a:t> Needed when the out-of-the-box server-side navigation controls cannot be configured to meet one or more requirements of the proposed design.</a:t>
            </a:r>
          </a:p>
          <a:p>
            <a:pPr marL="838185" lvl="2" indent="-228600" defTabSz="977900">
              <a:lnSpc>
                <a:spcPct val="90000"/>
              </a:lnSpc>
              <a:spcBef>
                <a:spcPct val="0"/>
              </a:spcBef>
              <a:spcAft>
                <a:spcPct val="20000"/>
              </a:spcAft>
              <a:buFontTx/>
              <a:buChar char="•"/>
            </a:pPr>
            <a:r>
              <a:rPr lang="en-US" sz="1600" dirty="0"/>
              <a:t>The navigation store API provides a programmatic interface to manage the configuration of the navigation control consistently and securely. You can choose to have the custom navigation control use either a custom navigation store API or an out-of-the-box navigation store API.</a:t>
            </a:r>
          </a:p>
          <a:p>
            <a:pPr>
              <a:spcBef>
                <a:spcPts val="0"/>
              </a:spcBef>
              <a:spcAft>
                <a:spcPts val="0"/>
              </a:spcAft>
            </a:pPr>
            <a:endParaRPr lang="en-US" b="0" dirty="0"/>
          </a:p>
          <a:p>
            <a:pPr>
              <a:spcBef>
                <a:spcPts val="0"/>
              </a:spcBef>
              <a:spcAft>
                <a:spcPts val="0"/>
              </a:spcAft>
            </a:pPr>
            <a:endParaRPr lang="en-US" b="1"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851726869"/>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endParaRPr lang="en-US" b="1"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3153964231"/>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endParaRPr lang="en-US" b="1"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2159650746"/>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445968226"/>
      </p:ext>
    </p:extLst>
  </p:cSld>
  <p:clrMapOvr>
    <a:masterClrMapping/>
  </p:clrMapOvr>
</p:notes>
</file>

<file path=ppt/notesSlides/notesSlide1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endParaRPr lang="en-US" b="1"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851726869"/>
      </p:ext>
    </p:extLst>
  </p:cSld>
  <p:clrMapOvr>
    <a:masterClrMapping/>
  </p:clrMapOvr>
</p:notes>
</file>

<file path=ppt/notesSlides/notesSlide1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endParaRPr lang="en-US" b="1"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851726869"/>
      </p:ext>
    </p:extLst>
  </p:cSld>
  <p:clrMapOvr>
    <a:masterClrMapping/>
  </p:clrMapOvr>
</p:notes>
</file>

<file path=ppt/notesSlides/notesSlide1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endParaRPr lang="en-US" b="1"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851726869"/>
      </p:ext>
    </p:extLst>
  </p:cSld>
  <p:clrMapOvr>
    <a:masterClrMapping/>
  </p:clrMapOvr>
</p:notes>
</file>

<file path=ppt/notesSlides/notesSlide1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defTabSz="904944">
              <a:defRPr/>
            </a:pPr>
            <a:endParaRPr lang="en-US">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54468" defTabSz="88685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04944">
              <a:defRPr/>
            </a:pPr>
            <a:fld id="{D18B56EA-E28F-4F92-9F16-7A6F2501B303}" type="datetime8">
              <a:rPr lang="en-US">
                <a:solidFill>
                  <a:prstClr val="black"/>
                </a:solidFill>
                <a:latin typeface="Segoe UI" pitchFamily="34" charset="0"/>
              </a:rPr>
              <a:pPr defTabSz="904944">
                <a:defRPr/>
              </a:pPr>
              <a:t>1/8/2023 1:21 A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04944">
              <a:defRPr/>
            </a:pPr>
            <a:fld id="{B4008EB6-D09E-4580-8CD6-DDB14511944F}" type="slidenum">
              <a:rPr lang="en-US">
                <a:solidFill>
                  <a:prstClr val="black"/>
                </a:solidFill>
                <a:latin typeface="Segoe UI" pitchFamily="34" charset="0"/>
              </a:rPr>
              <a:pPr defTabSz="904944">
                <a:defRPr/>
              </a:pPr>
              <a:t>19</a:t>
            </a:fld>
            <a:endParaRPr lang="en-US">
              <a:solidFill>
                <a:prstClr val="black"/>
              </a:solidFill>
              <a:latin typeface="Segoe UI" pitchFamily="34" charset="0"/>
            </a:endParaRPr>
          </a:p>
        </p:txBody>
      </p:sp>
    </p:spTree>
    <p:extLst>
      <p:ext uri="{BB962C8B-B14F-4D97-AF65-F5344CB8AC3E}">
        <p14:creationId xmlns:p14="http://schemas.microsoft.com/office/powerpoint/2010/main" val="1814857612"/>
      </p:ext>
    </p:extLst>
  </p:cSld>
  <p:clrMapOvr>
    <a:masterClrMapping/>
  </p:clrMapOvr>
</p:notes>
</file>

<file path=ppt/notesSlides/notesSlide1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445968226"/>
      </p:ext>
    </p:extLst>
  </p:cSld>
  <p:clrMapOvr>
    <a:masterClrMapping/>
  </p:clrMapOvr>
</p:notes>
</file>

<file path=ppt/notesSlides/notesSlide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207044758"/>
      </p:ext>
    </p:extLst>
  </p:cSld>
  <p:clrMapOvr>
    <a:masterClrMapping/>
  </p:clrMapOvr>
</p:notes>
</file>

<file path=ppt/notesSlides/notesSlide2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endParaRPr lang="en-IN"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2959771786"/>
      </p:ext>
    </p:extLst>
  </p:cSld>
  <p:clrMapOvr>
    <a:masterClrMapping/>
  </p:clrMapOvr>
</p:notes>
</file>

<file path=ppt/notesSlides/notesSlide2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50" b="1" i="0" u="none" strike="noStrike" kern="1200" dirty="0">
                <a:solidFill>
                  <a:schemeClr val="tx1"/>
                </a:solidFill>
                <a:effectLst/>
                <a:latin typeface="Segoe UI" pitchFamily="34" charset="0"/>
                <a:ea typeface="Segoe UI" pitchFamily="34" charset="0"/>
                <a:cs typeface="Segoe UI" pitchFamily="34" charset="0"/>
              </a:rPr>
              <a:t>What happens when you get throttled in SharePoint Online?</a:t>
            </a:r>
          </a:p>
          <a:p>
            <a:r>
              <a:rPr lang="en-US" sz="1050" b="0" i="0" u="none" strike="noStrike" kern="1200" dirty="0">
                <a:solidFill>
                  <a:schemeClr val="tx1"/>
                </a:solidFill>
                <a:effectLst/>
                <a:latin typeface="Segoe UI" pitchFamily="34" charset="0"/>
                <a:ea typeface="Segoe UI" pitchFamily="34" charset="0"/>
                <a:cs typeface="Segoe UI" pitchFamily="34" charset="0"/>
              </a:rPr>
              <a:t>When a user exceeds usage limits, SharePoint Online throttles any further requests from that user account for a short period. All user actions are throttled while the throttle is in effect.</a:t>
            </a:r>
          </a:p>
          <a:p>
            <a:r>
              <a:rPr lang="en-US" sz="1050" b="0" i="0" u="none" strike="noStrike" kern="1200" dirty="0">
                <a:solidFill>
                  <a:schemeClr val="tx1"/>
                </a:solidFill>
                <a:effectLst/>
                <a:latin typeface="Segoe UI" pitchFamily="34" charset="0"/>
                <a:ea typeface="Segoe UI" pitchFamily="34" charset="0"/>
                <a:cs typeface="Segoe UI" pitchFamily="34" charset="0"/>
              </a:rPr>
              <a:t>For requests that a user performs directly in the browser, SharePoint Online redirects you to the throttling information page, and the requests fail.</a:t>
            </a:r>
          </a:p>
          <a:p>
            <a:r>
              <a:rPr lang="en-US" sz="1050" b="0" i="0" u="none" strike="noStrike" kern="1200" dirty="0">
                <a:solidFill>
                  <a:schemeClr val="tx1"/>
                </a:solidFill>
                <a:effectLst/>
                <a:latin typeface="Segoe UI" pitchFamily="34" charset="0"/>
                <a:ea typeface="Segoe UI" pitchFamily="34" charset="0"/>
                <a:cs typeface="Segoe UI" pitchFamily="34" charset="0"/>
              </a:rPr>
              <a:t>For all other requests, including CSOM or REST calls, SharePoint Online returns HTTP status code 429 ("Too many requests") or 503 ("Server Too Busy") and the requests will fail.</a:t>
            </a:r>
          </a:p>
          <a:p>
            <a:r>
              <a:rPr lang="en-US" sz="1050" b="0" i="0" u="none" strike="noStrike" kern="1200" dirty="0">
                <a:solidFill>
                  <a:schemeClr val="tx1"/>
                </a:solidFill>
                <a:effectLst/>
                <a:latin typeface="Segoe UI" pitchFamily="34" charset="0"/>
                <a:ea typeface="Segoe UI" pitchFamily="34" charset="0"/>
                <a:cs typeface="Segoe UI" pitchFamily="34" charset="0"/>
              </a:rPr>
              <a:t>If the offending process continues to exceed usage limits, SharePoint Online might completely block the process; in this case, you will not see any successful requests and we will notify you of the block in the Microsoft 365 Message Center. </a:t>
            </a:r>
          </a:p>
          <a:p>
            <a:pPr>
              <a:spcBef>
                <a:spcPts val="0"/>
              </a:spcBef>
              <a:spcAft>
                <a:spcPts val="0"/>
              </a:spcAft>
            </a:pPr>
            <a:endParaRPr lang="en-US" b="1"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931562087"/>
      </p:ext>
    </p:extLst>
  </p:cSld>
  <p:clrMapOvr>
    <a:masterClrMapping/>
  </p:clrMapOvr>
</p:notes>
</file>

<file path=ppt/notesSlides/notesSlide2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50" b="0" i="0" u="none" strike="noStrike" kern="1200" dirty="0">
                <a:solidFill>
                  <a:schemeClr val="tx1"/>
                </a:solidFill>
                <a:effectLst/>
                <a:latin typeface="Segoe UI" pitchFamily="34" charset="0"/>
                <a:ea typeface="Segoe UI" pitchFamily="34" charset="0"/>
                <a:cs typeface="Segoe UI" pitchFamily="34" charset="0"/>
              </a:rPr>
              <a:t>Blocking is the most extreme form of throttling. We rarely ever block a tenant, unless we detect long-term, extremely excessive traffic that may threaten the overall health of the SharePoint Online service. We apply blocks to prevent excessive traffic from degrading the performance and reliability of SharePoint Online. A block - which is usually placed at the app or user level - prevents the offending process from running until you fix the problem. If we block your subscription, you must take action to modify the offending processes before the block can be removed.</a:t>
            </a:r>
          </a:p>
          <a:p>
            <a:r>
              <a:rPr lang="en-US" sz="1050" b="0" i="0" u="none" strike="noStrike" kern="1200" dirty="0">
                <a:solidFill>
                  <a:schemeClr val="tx1"/>
                </a:solidFill>
                <a:effectLst/>
                <a:latin typeface="Segoe UI" pitchFamily="34" charset="0"/>
                <a:ea typeface="Segoe UI" pitchFamily="34" charset="0"/>
                <a:cs typeface="Segoe UI" pitchFamily="34" charset="0"/>
              </a:rPr>
              <a:t>If we block your subscription we will notify you of the block in the Microsoft 365 Message Center. The message describes what caused the block, provides guidance on how to resolve the offending issue, and tells you who to contact to get the block removed.</a:t>
            </a:r>
          </a:p>
          <a:p>
            <a:pPr>
              <a:spcBef>
                <a:spcPts val="0"/>
              </a:spcBef>
              <a:spcAft>
                <a:spcPts val="0"/>
              </a:spcAft>
            </a:pPr>
            <a:endParaRPr lang="en-US" b="1"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629725556"/>
      </p:ext>
    </p:extLst>
  </p:cSld>
  <p:clrMapOvr>
    <a:masterClrMapping/>
  </p:clrMapOvr>
</p:notes>
</file>

<file path=ppt/notesSlides/notesSlide2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For more information and additional sample code, see </a:t>
            </a:r>
            <a:r>
              <a:rPr lang="en-US" sz="1050" b="1" i="0" u="none" strike="noStrike" kern="1200" dirty="0">
                <a:solidFill>
                  <a:schemeClr val="tx1"/>
                </a:solidFill>
                <a:effectLst/>
                <a:latin typeface="Segoe UI" pitchFamily="34" charset="0"/>
                <a:ea typeface="Segoe UI" pitchFamily="34" charset="0"/>
                <a:cs typeface="Segoe UI" pitchFamily="34" charset="0"/>
              </a:rPr>
              <a:t>Avoid getting throttled or blocked in SharePoint Online</a:t>
            </a:r>
            <a:endParaRPr lang="en-US" dirty="0"/>
          </a:p>
          <a:p>
            <a:r>
              <a:rPr lang="en-US" dirty="0"/>
              <a:t>https://docs.microsoft.com/en-us/sharepoint/dev/general-development/how-to-avoid-getting-throttled-or-blocked-in-sharepoint-online#what-is-throttling</a:t>
            </a:r>
          </a:p>
          <a:p>
            <a:endParaRPr lang="en-US" dirty="0"/>
          </a:p>
          <a:p>
            <a:pPr lvl="0"/>
            <a:r>
              <a:rPr lang="en-US" dirty="0">
                <a:solidFill>
                  <a:srgbClr val="505050">
                    <a:hueOff val="0"/>
                    <a:satOff val="0"/>
                    <a:lumOff val="0"/>
                    <a:alphaOff val="0"/>
                  </a:srgbClr>
                </a:solidFill>
              </a:rPr>
              <a:t>What is definition of undecorated traffic?</a:t>
            </a:r>
          </a:p>
          <a:p>
            <a:pPr marL="342900" lvl="0" indent="-342900">
              <a:buFont typeface="Arial" panose="020B0604020202020204" pitchFamily="34" charset="0"/>
              <a:buChar char="•"/>
            </a:pPr>
            <a:r>
              <a:rPr lang="en-US" sz="2000" dirty="0">
                <a:solidFill>
                  <a:srgbClr val="505050">
                    <a:hueOff val="0"/>
                    <a:satOff val="0"/>
                    <a:lumOff val="0"/>
                    <a:alphaOff val="0"/>
                  </a:srgbClr>
                </a:solidFill>
              </a:rPr>
              <a:t>Traffic is undecorated if there is no </a:t>
            </a:r>
            <a:r>
              <a:rPr lang="en-US" sz="2000" dirty="0" err="1">
                <a:solidFill>
                  <a:srgbClr val="505050">
                    <a:hueOff val="0"/>
                    <a:satOff val="0"/>
                    <a:lumOff val="0"/>
                    <a:alphaOff val="0"/>
                  </a:srgbClr>
                </a:solidFill>
              </a:rPr>
              <a:t>AppID</a:t>
            </a:r>
            <a:r>
              <a:rPr lang="en-US" sz="2000" dirty="0">
                <a:solidFill>
                  <a:srgbClr val="505050">
                    <a:hueOff val="0"/>
                    <a:satOff val="0"/>
                    <a:lumOff val="0"/>
                    <a:alphaOff val="0"/>
                  </a:srgbClr>
                </a:solidFill>
              </a:rPr>
              <a:t>/</a:t>
            </a:r>
            <a:r>
              <a:rPr lang="en-US" sz="2000" dirty="0" err="1">
                <a:solidFill>
                  <a:srgbClr val="505050">
                    <a:hueOff val="0"/>
                    <a:satOff val="0"/>
                    <a:lumOff val="0"/>
                    <a:alphaOff val="0"/>
                  </a:srgbClr>
                </a:solidFill>
              </a:rPr>
              <a:t>AppTitle</a:t>
            </a:r>
            <a:r>
              <a:rPr lang="en-US" sz="2000" dirty="0">
                <a:solidFill>
                  <a:srgbClr val="505050">
                    <a:hueOff val="0"/>
                    <a:satOff val="0"/>
                    <a:lumOff val="0"/>
                    <a:alphaOff val="0"/>
                  </a:srgbClr>
                </a:solidFill>
              </a:rPr>
              <a:t> and User Agent string in CSOM or REST API call to SharePoint Online. The User Agent string should be in a specific format as described below.</a:t>
            </a:r>
          </a:p>
          <a:p>
            <a:pPr lvl="0"/>
            <a:r>
              <a:rPr lang="en-US" dirty="0">
                <a:solidFill>
                  <a:srgbClr val="505050">
                    <a:hueOff val="0"/>
                    <a:satOff val="0"/>
                    <a:lumOff val="0"/>
                    <a:alphaOff val="0"/>
                  </a:srgbClr>
                </a:solidFill>
              </a:rPr>
              <a:t>What are the recommendations?</a:t>
            </a:r>
          </a:p>
          <a:p>
            <a:pPr marL="342900" lvl="0" indent="-342900">
              <a:buFont typeface="Arial" panose="020B0604020202020204" pitchFamily="34" charset="0"/>
              <a:buChar char="•"/>
            </a:pPr>
            <a:r>
              <a:rPr lang="en-US" sz="2000" dirty="0">
                <a:solidFill>
                  <a:srgbClr val="505050">
                    <a:hueOff val="0"/>
                    <a:satOff val="0"/>
                    <a:lumOff val="0"/>
                    <a:alphaOff val="0"/>
                  </a:srgbClr>
                </a:solidFill>
              </a:rPr>
              <a:t>If you have created an application, the recommendation is to register and use </a:t>
            </a:r>
            <a:r>
              <a:rPr lang="en-US" sz="2000" dirty="0" err="1">
                <a:solidFill>
                  <a:srgbClr val="505050">
                    <a:hueOff val="0"/>
                    <a:satOff val="0"/>
                    <a:lumOff val="0"/>
                    <a:alphaOff val="0"/>
                  </a:srgbClr>
                </a:solidFill>
              </a:rPr>
              <a:t>AppID</a:t>
            </a:r>
            <a:r>
              <a:rPr lang="en-US" sz="2000" dirty="0">
                <a:solidFill>
                  <a:srgbClr val="505050">
                    <a:hueOff val="0"/>
                    <a:satOff val="0"/>
                    <a:lumOff val="0"/>
                    <a:alphaOff val="0"/>
                  </a:srgbClr>
                </a:solidFill>
              </a:rPr>
              <a:t> and </a:t>
            </a:r>
            <a:r>
              <a:rPr lang="en-US" sz="2000" dirty="0" err="1">
                <a:solidFill>
                  <a:srgbClr val="505050">
                    <a:hueOff val="0"/>
                    <a:satOff val="0"/>
                    <a:lumOff val="0"/>
                    <a:alphaOff val="0"/>
                  </a:srgbClr>
                </a:solidFill>
              </a:rPr>
              <a:t>AppTitle</a:t>
            </a:r>
            <a:endParaRPr lang="en-US" sz="2000" dirty="0">
              <a:solidFill>
                <a:srgbClr val="505050">
                  <a:hueOff val="0"/>
                  <a:satOff val="0"/>
                  <a:lumOff val="0"/>
                  <a:alphaOff val="0"/>
                </a:srgbClr>
              </a:solidFill>
            </a:endParaRPr>
          </a:p>
          <a:p>
            <a:pPr marL="342900" lvl="0" indent="-342900">
              <a:buFont typeface="Arial" panose="020B0604020202020204" pitchFamily="34" charset="0"/>
              <a:buChar char="•"/>
            </a:pPr>
            <a:r>
              <a:rPr lang="en-US" sz="2000" dirty="0">
                <a:solidFill>
                  <a:srgbClr val="505050">
                    <a:hueOff val="0"/>
                    <a:satOff val="0"/>
                    <a:lumOff val="0"/>
                    <a:alphaOff val="0"/>
                  </a:srgbClr>
                </a:solidFill>
              </a:rPr>
              <a:t>This will ensure the best overall experience and best path for any future issue resolution. </a:t>
            </a:r>
          </a:p>
          <a:p>
            <a:pPr marL="342900" lvl="0" indent="-342900">
              <a:buFont typeface="Arial" panose="020B0604020202020204" pitchFamily="34" charset="0"/>
              <a:buChar char="•"/>
            </a:pPr>
            <a:r>
              <a:rPr lang="en-US" sz="2000" dirty="0">
                <a:solidFill>
                  <a:srgbClr val="505050">
                    <a:hueOff val="0"/>
                    <a:satOff val="0"/>
                    <a:lumOff val="0"/>
                    <a:alphaOff val="0"/>
                  </a:srgbClr>
                </a:solidFill>
              </a:rPr>
              <a:t>Also include the User Agent string information as defined in following step.</a:t>
            </a:r>
          </a:p>
          <a:p>
            <a:pPr marL="342900" lvl="0" indent="-342900">
              <a:buFont typeface="Arial" panose="020B0604020202020204" pitchFamily="34" charset="0"/>
              <a:buChar char="•"/>
            </a:pPr>
            <a:r>
              <a:rPr lang="en-US" sz="2000" dirty="0">
                <a:solidFill>
                  <a:srgbClr val="505050">
                    <a:hueOff val="0"/>
                    <a:satOff val="0"/>
                    <a:lumOff val="0"/>
                    <a:alphaOff val="0"/>
                  </a:srgbClr>
                </a:solidFill>
              </a:rPr>
              <a:t>Make sure to include User Agent string in your API call to SharePoint with following naming convention</a:t>
            </a:r>
          </a:p>
          <a:p>
            <a:pPr marL="952485" lvl="1" indent="-342900">
              <a:buFont typeface="Arial" panose="020B0604020202020204" pitchFamily="34" charset="0"/>
              <a:buChar char="•"/>
            </a:pPr>
            <a:r>
              <a:rPr lang="en-US" sz="2000" dirty="0">
                <a:solidFill>
                  <a:srgbClr val="505050">
                    <a:hueOff val="0"/>
                    <a:satOff val="0"/>
                    <a:lumOff val="0"/>
                    <a:alphaOff val="0"/>
                  </a:srgbClr>
                </a:solidFill>
              </a:rPr>
              <a:t>Type</a:t>
            </a:r>
          </a:p>
          <a:p>
            <a:pPr marL="952485" lvl="1" indent="-342900">
              <a:buFont typeface="Arial" panose="020B0604020202020204" pitchFamily="34" charset="0"/>
              <a:buChar char="•"/>
            </a:pPr>
            <a:r>
              <a:rPr lang="en-US" sz="2000" dirty="0">
                <a:solidFill>
                  <a:srgbClr val="505050">
                    <a:hueOff val="0"/>
                    <a:satOff val="0"/>
                    <a:lumOff val="0"/>
                    <a:alphaOff val="0"/>
                  </a:srgbClr>
                </a:solidFill>
              </a:rPr>
              <a:t>User Agent</a:t>
            </a:r>
          </a:p>
          <a:p>
            <a:pPr marL="952485" lvl="1" indent="-342900">
              <a:buFont typeface="Arial" panose="020B0604020202020204" pitchFamily="34" charset="0"/>
              <a:buChar char="•"/>
            </a:pPr>
            <a:r>
              <a:rPr lang="en-US" sz="2000" dirty="0">
                <a:solidFill>
                  <a:srgbClr val="505050">
                    <a:hueOff val="0"/>
                    <a:satOff val="0"/>
                    <a:lumOff val="0"/>
                    <a:alphaOff val="0"/>
                  </a:srgbClr>
                </a:solidFill>
              </a:rPr>
              <a:t>Description</a:t>
            </a:r>
            <a:endParaRPr kumimoji="0" lang="en-US" sz="2000" b="0" i="0" u="none" strike="noStrike" kern="1200" cap="none" spc="0" normalizeH="0" baseline="0" noProof="0" dirty="0">
              <a:ln>
                <a:noFill/>
              </a:ln>
              <a:solidFill>
                <a:srgbClr val="505050">
                  <a:hueOff val="0"/>
                  <a:satOff val="0"/>
                  <a:lumOff val="0"/>
                  <a:alphaOff val="0"/>
                </a:srgbClr>
              </a:solidFill>
              <a:effectLst/>
              <a:uLnTx/>
              <a:uFillTx/>
              <a:latin typeface="Segoe UI"/>
              <a:ea typeface="Segoe UI" pitchFamily="34" charset="0"/>
              <a:cs typeface="Segoe UI" pitchFamily="34" charset="0"/>
            </a:endParaRPr>
          </a:p>
          <a:p>
            <a:endParaRPr lang="en-US"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2986765705"/>
      </p:ext>
    </p:extLst>
  </p:cSld>
  <p:clrMapOvr>
    <a:masterClrMapping/>
  </p:clrMapOvr>
</p:notes>
</file>

<file path=ppt/notesSlides/notesSlide2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r>
              <a:rPr lang="en-US" sz="1050" b="0" i="0" u="none" strike="noStrike" kern="1200" dirty="0">
                <a:solidFill>
                  <a:schemeClr val="tx1"/>
                </a:solidFill>
                <a:effectLst/>
                <a:latin typeface="Segoe UI" pitchFamily="34" charset="0"/>
                <a:ea typeface="Segoe UI" pitchFamily="34" charset="0"/>
                <a:cs typeface="Segoe UI" pitchFamily="34" charset="0"/>
              </a:rPr>
              <a:t>Setting and publishing exact throttling limits sounds very straightforward, but in fact it would result in more restrictive limits. We continually monitor resource usage on SharePoint Online. Depending on usage, we fine-tune thresholds so users can consume the maximum number of resources without degrading the reliability and performance of SharePoint Online. That's why it's so important for your CSOM or REST code to honor the retry-after header value; this lets your code run as fast as possible on any given day, and it lets your code back off "just enough" if it hits throttling limits. The code samples later in this article show you how to use the retry-after header.</a:t>
            </a:r>
            <a:endParaRPr lang="en-US" b="1"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1629276593"/>
      </p:ext>
    </p:extLst>
  </p:cSld>
  <p:clrMapOvr>
    <a:masterClrMapping/>
  </p:clrMapOvr>
</p:notes>
</file>

<file path=ppt/notesSlides/notesSlide2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09585" rtl="0" eaLnBrk="1" fontAlgn="auto" latinLnBrk="0" hangingPunct="1">
              <a:lnSpc>
                <a:spcPct val="100000"/>
              </a:lnSpc>
              <a:spcBef>
                <a:spcPts val="400"/>
              </a:spcBef>
              <a:spcAft>
                <a:spcPts val="800"/>
              </a:spcAft>
              <a:buClrTx/>
              <a:buSzTx/>
              <a:buFont typeface="+mj-lt"/>
              <a:buAutoNum type="arabicPeriod"/>
              <a:tabLst/>
              <a:defRPr/>
            </a:pPr>
            <a:r>
              <a:rPr lang="en-US" sz="1050" baseline="0" dirty="0"/>
              <a:t>What is the recommended limit of the number </a:t>
            </a:r>
            <a:r>
              <a:rPr lang="en-US" sz="1050" dirty="0"/>
              <a:t>of custom JSOM and Rest API calls to SharePoint?</a:t>
            </a:r>
            <a:endParaRPr lang="nb-NO" sz="1050" dirty="0"/>
          </a:p>
          <a:p>
            <a:pPr>
              <a:buFont typeface="+mj-lt"/>
              <a:buNone/>
            </a:pPr>
            <a:r>
              <a:rPr lang="en-US" b="1" dirty="0"/>
              <a:t>Answer</a:t>
            </a:r>
            <a:r>
              <a:rPr lang="en-US" dirty="0"/>
              <a:t>: 6 or fewer per page load</a:t>
            </a:r>
          </a:p>
          <a:p>
            <a:pPr marL="0" indent="0">
              <a:buNone/>
            </a:pPr>
            <a:endParaRPr lang="en-US" dirty="0"/>
          </a:p>
          <a:p>
            <a:pPr marL="0" marR="0" lvl="0" indent="0" algn="l" defTabSz="609585" rtl="0" eaLnBrk="1" fontAlgn="auto" latinLnBrk="0" hangingPunct="1">
              <a:lnSpc>
                <a:spcPct val="100000"/>
              </a:lnSpc>
              <a:spcBef>
                <a:spcPts val="400"/>
              </a:spcBef>
              <a:spcAft>
                <a:spcPts val="800"/>
              </a:spcAft>
              <a:buClrTx/>
              <a:buSzTx/>
              <a:buFont typeface="+mj-lt"/>
              <a:buAutoNum type="arabicPeriod" startAt="2"/>
              <a:tabLst/>
              <a:defRPr/>
            </a:pPr>
            <a:r>
              <a:rPr lang="en-US" sz="1050" baseline="0" dirty="0"/>
              <a:t>Which type of site navigation is </a:t>
            </a:r>
            <a:r>
              <a:rPr lang="en-US" sz="1050" u="sng" baseline="0" dirty="0"/>
              <a:t>not</a:t>
            </a:r>
            <a:r>
              <a:rPr lang="en-US" sz="1050" baseline="0" dirty="0"/>
              <a:t> recommended for publishing portals, especially with portals with deeply nested site structure? </a:t>
            </a:r>
            <a:endParaRPr lang="nb-NO" sz="1050" dirty="0"/>
          </a:p>
          <a:p>
            <a:pPr marL="361950" indent="0">
              <a:buNone/>
            </a:pPr>
            <a:r>
              <a:rPr lang="en-US" b="1" dirty="0"/>
              <a:t>Answer</a:t>
            </a:r>
            <a:r>
              <a:rPr lang="en-US" dirty="0"/>
              <a:t>: Structural navigation . </a:t>
            </a:r>
          </a:p>
          <a:p>
            <a:pPr>
              <a:buFont typeface="+mj-lt"/>
              <a:buAutoNum type="arabicPeriod" startAt="2"/>
            </a:pPr>
            <a:endParaRPr lang="en-US" dirty="0"/>
          </a:p>
          <a:p>
            <a:pPr marL="0" marR="0" lvl="0" indent="0" algn="l" defTabSz="609585" rtl="0" eaLnBrk="1" fontAlgn="auto" latinLnBrk="0" hangingPunct="1">
              <a:lnSpc>
                <a:spcPct val="100000"/>
              </a:lnSpc>
              <a:spcBef>
                <a:spcPts val="400"/>
              </a:spcBef>
              <a:spcAft>
                <a:spcPts val="800"/>
              </a:spcAft>
              <a:buClrTx/>
              <a:buSzTx/>
              <a:buFont typeface="+mj-lt"/>
              <a:buAutoNum type="arabicPeriod" startAt="3"/>
              <a:tabLst/>
              <a:defRPr/>
            </a:pPr>
            <a:r>
              <a:rPr lang="en-US" sz="1050" baseline="0" dirty="0"/>
              <a:t>What are some recommendation ways to avoid being throttled when using </a:t>
            </a:r>
            <a:r>
              <a:rPr lang="en-US" sz="1050" dirty="0"/>
              <a:t>custom code to make JSOM and Rest API calls to SharePoint?</a:t>
            </a:r>
            <a:endParaRPr lang="nb-NO" sz="1050" dirty="0"/>
          </a:p>
          <a:p>
            <a:pPr lvl="0"/>
            <a:r>
              <a:rPr lang="en-US" b="1" dirty="0"/>
              <a:t>Answer</a:t>
            </a:r>
            <a:r>
              <a:rPr lang="en-US" dirty="0"/>
              <a:t>:</a:t>
            </a:r>
          </a:p>
          <a:p>
            <a:pPr lvl="0"/>
            <a:r>
              <a:rPr lang="en-US" sz="1050" b="0" i="0" u="none" dirty="0"/>
              <a:t>Reduce the number of operations per request</a:t>
            </a:r>
            <a:endParaRPr lang="nb-NO" sz="1050" dirty="0"/>
          </a:p>
          <a:p>
            <a:pPr lvl="0"/>
            <a:r>
              <a:rPr lang="en-US" sz="1050" b="0" i="0" u="none" dirty="0"/>
              <a:t>Reduce the frequency of calls</a:t>
            </a:r>
            <a:endParaRPr lang="nb-NO" sz="1050" dirty="0"/>
          </a:p>
          <a:p>
            <a:pPr lvl="0"/>
            <a:r>
              <a:rPr lang="en-US" sz="1050" b="0" i="0" u="none" dirty="0"/>
              <a:t>Decorate your traffic so we know who you are</a:t>
            </a:r>
            <a:endParaRPr lang="nb-NO" sz="1050" dirty="0"/>
          </a:p>
          <a:p>
            <a:pPr lvl="0"/>
            <a:r>
              <a:rPr lang="en-US" sz="1050" b="0" i="0" u="none" dirty="0"/>
              <a:t>Leverage the retry-after header</a:t>
            </a:r>
            <a:endParaRPr lang="nb-NO" sz="1050" dirty="0"/>
          </a:p>
          <a:p>
            <a:pPr>
              <a:buFont typeface="+mj-lt"/>
              <a:buNone/>
            </a:pPr>
            <a:endParaRPr lang="en-US" dirty="0"/>
          </a:p>
          <a:p>
            <a:endParaRPr lang="nb-NO"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389979268"/>
      </p:ext>
    </p:extLst>
  </p:cSld>
  <p:clrMapOvr>
    <a:masterClrMapping/>
  </p:clrMapOvr>
</p:notes>
</file>

<file path=ppt/notesSlides/notesSlide2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381000" y="482600"/>
            <a:ext cx="6096000" cy="3429000"/>
          </a:xfrm>
        </p:spPr>
      </p:sp>
      <p:sp>
        <p:nvSpPr>
          <p:cNvPr id="6" name="Notes Placeholder 5"/>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027124083"/>
      </p:ext>
    </p:extLst>
  </p:cSld>
  <p:clrMapOvr>
    <a:masterClrMapping/>
  </p:clrMapOvr>
</p:notes>
</file>

<file path=ppt/notesSlides/notesSlide2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025840206"/>
      </p:ext>
    </p:extLst>
  </p:cSld>
  <p:clrMapOvr>
    <a:masterClrMapping/>
  </p:clrMapOvr>
</p:notes>
</file>

<file path=ppt/notesSlides/notesSlide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Image Placeholder 8"/>
          <p:cNvSpPr>
            <a:spLocks noGrp="1" noRot="1" noChangeAspect="1"/>
          </p:cNvSpPr>
          <p:nvPr>
            <p:ph type="sldImg"/>
          </p:nvPr>
        </p:nvSpPr>
        <p:spPr>
          <a:xfrm>
            <a:off x="381000" y="482600"/>
            <a:ext cx="6096000" cy="3429000"/>
          </a:xfrm>
        </p:spPr>
      </p:sp>
      <p:sp>
        <p:nvSpPr>
          <p:cNvPr id="10" name="Notes Placeholder 9"/>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771506929"/>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853362484"/>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050" kern="1200" dirty="0">
                <a:solidFill>
                  <a:schemeClr val="tx1"/>
                </a:solidFill>
                <a:effectLst/>
                <a:latin typeface="Segoe UI" pitchFamily="34" charset="0"/>
                <a:ea typeface="Segoe UI" pitchFamily="34" charset="0"/>
                <a:cs typeface="Segoe UI" pitchFamily="34" charset="0"/>
              </a:rPr>
              <a:t>For more information on JavaScript threading, please see </a:t>
            </a:r>
            <a:r>
              <a:rPr lang="en-US" sz="1050" u="sng" kern="1200" dirty="0">
                <a:solidFill>
                  <a:schemeClr val="tx1"/>
                </a:solidFill>
                <a:effectLst/>
                <a:latin typeface="Segoe UI" pitchFamily="34" charset="0"/>
                <a:ea typeface="Segoe UI" pitchFamily="34" charset="0"/>
                <a:cs typeface="Segoe UI" pitchFamily="34" charset="0"/>
                <a:hlinkClick r:id="rId3"/>
              </a:rPr>
              <a:t>https://www.red-gate.com/simple-talk/dotnet/asp-net/javascript-single-threaded</a:t>
            </a:r>
            <a:r>
              <a:rPr lang="en-US" sz="1050" kern="1200" dirty="0">
                <a:solidFill>
                  <a:schemeClr val="tx1"/>
                </a:solidFill>
                <a:effectLst/>
                <a:latin typeface="Segoe UI" pitchFamily="34" charset="0"/>
                <a:ea typeface="Segoe UI" pitchFamily="34" charset="0"/>
                <a:cs typeface="Segoe UI" pitchFamily="34" charset="0"/>
              </a:rPr>
              <a:t> and </a:t>
            </a:r>
            <a:r>
              <a:rPr lang="en-US" sz="1050" u="sng" kern="1200" dirty="0">
                <a:solidFill>
                  <a:schemeClr val="tx1"/>
                </a:solidFill>
                <a:effectLst/>
                <a:latin typeface="Segoe UI" pitchFamily="34" charset="0"/>
                <a:ea typeface="Segoe UI" pitchFamily="34" charset="0"/>
                <a:cs typeface="Segoe UI" pitchFamily="34" charset="0"/>
                <a:hlinkClick r:id="rId4"/>
              </a:rPr>
              <a:t>https://www.sohamkamani.com/blog/2016/03/14/wrapping-your-head-around-async-programming</a:t>
            </a:r>
            <a:r>
              <a:rPr lang="en-US" sz="1050" kern="1200" dirty="0">
                <a:solidFill>
                  <a:schemeClr val="tx1"/>
                </a:solidFill>
                <a:effectLst/>
                <a:latin typeface="Segoe UI" pitchFamily="34" charset="0"/>
                <a:ea typeface="Segoe UI" pitchFamily="34" charset="0"/>
                <a:cs typeface="Segoe UI" pitchFamily="34" charset="0"/>
              </a:rPr>
              <a:t>. </a:t>
            </a:r>
          </a:p>
          <a:p>
            <a:pPr>
              <a:spcBef>
                <a:spcPts val="0"/>
              </a:spcBef>
              <a:spcAft>
                <a:spcPts val="0"/>
              </a:spcAft>
            </a:pPr>
            <a:endParaRPr lang="en-US" b="1" dirty="0"/>
          </a:p>
          <a:p>
            <a:pPr marL="0" marR="0" lvl="0" indent="0" algn="l" defTabSz="609585" rtl="0" eaLnBrk="1" fontAlgn="auto" latinLnBrk="0" hangingPunct="1">
              <a:lnSpc>
                <a:spcPct val="100000"/>
              </a:lnSpc>
              <a:spcBef>
                <a:spcPts val="0"/>
              </a:spcBef>
              <a:spcAft>
                <a:spcPts val="0"/>
              </a:spcAft>
              <a:buClrTx/>
              <a:buSzTx/>
              <a:buFontTx/>
              <a:buNone/>
              <a:tabLst/>
              <a:defRPr/>
            </a:pPr>
            <a:r>
              <a:rPr lang="en-US" dirty="0"/>
              <a:t>JavaScript engines on web browsers are single-threaded in nature which means that all these JavaScript calls will be executed on a single computing thread. </a:t>
            </a:r>
          </a:p>
          <a:p>
            <a:pPr>
              <a:spcBef>
                <a:spcPts val="0"/>
              </a:spcBef>
              <a:spcAft>
                <a:spcPts val="0"/>
              </a:spcAft>
            </a:pPr>
            <a:endParaRPr lang="en-US" b="1"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058643787"/>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50" b="1" i="0" kern="1200" dirty="0">
                <a:solidFill>
                  <a:schemeClr val="tx1"/>
                </a:solidFill>
                <a:effectLst/>
                <a:latin typeface="Segoe UI" pitchFamily="34" charset="0"/>
                <a:ea typeface="Segoe UI" pitchFamily="34" charset="0"/>
                <a:cs typeface="Segoe UI" pitchFamily="34" charset="0"/>
              </a:rPr>
              <a:t>Remediate performance issues related to too many calls on a page</a:t>
            </a:r>
          </a:p>
          <a:p>
            <a:r>
              <a:rPr lang="en-US" sz="1050" b="0" i="0" kern="1200" dirty="0">
                <a:solidFill>
                  <a:schemeClr val="tx1"/>
                </a:solidFill>
                <a:effectLst/>
                <a:latin typeface="Segoe UI" pitchFamily="34" charset="0"/>
                <a:ea typeface="Segoe UI" pitchFamily="34" charset="0"/>
                <a:cs typeface="Segoe UI" pitchFamily="34" charset="0"/>
              </a:rPr>
              <a:t>If a page contains too many calls, you can use the list of URLs in the </a:t>
            </a:r>
            <a:r>
              <a:rPr lang="en-US" sz="1050" b="1" i="0" kern="1200" dirty="0">
                <a:solidFill>
                  <a:schemeClr val="tx1"/>
                </a:solidFill>
                <a:effectLst/>
                <a:latin typeface="Segoe UI" pitchFamily="34" charset="0"/>
                <a:ea typeface="Segoe UI" pitchFamily="34" charset="0"/>
                <a:cs typeface="Segoe UI" pitchFamily="34" charset="0"/>
              </a:rPr>
              <a:t>Requests to SharePoint</a:t>
            </a:r>
            <a:r>
              <a:rPr lang="en-US" sz="1050" b="0" i="0" kern="1200" dirty="0">
                <a:solidFill>
                  <a:schemeClr val="tx1"/>
                </a:solidFill>
                <a:effectLst/>
                <a:latin typeface="Segoe UI" pitchFamily="34" charset="0"/>
                <a:ea typeface="Segoe UI" pitchFamily="34" charset="0"/>
                <a:cs typeface="Segoe UI" pitchFamily="34" charset="0"/>
              </a:rPr>
              <a:t> results to determine whether there are any repeated calls, calls that should be batched, or calls that return data that should be cached.</a:t>
            </a:r>
          </a:p>
          <a:p>
            <a:r>
              <a:rPr lang="en-US" sz="1050" b="1" i="0" kern="1200" dirty="0">
                <a:solidFill>
                  <a:schemeClr val="tx1"/>
                </a:solidFill>
                <a:effectLst/>
                <a:latin typeface="Segoe UI" pitchFamily="34" charset="0"/>
                <a:ea typeface="Segoe UI" pitchFamily="34" charset="0"/>
                <a:cs typeface="Segoe UI" pitchFamily="34" charset="0"/>
              </a:rPr>
              <a:t>Batching REST calls</a:t>
            </a:r>
            <a:r>
              <a:rPr lang="en-US" sz="1050" b="0" i="0" kern="1200" dirty="0">
                <a:solidFill>
                  <a:schemeClr val="tx1"/>
                </a:solidFill>
                <a:effectLst/>
                <a:latin typeface="Segoe UI" pitchFamily="34" charset="0"/>
                <a:ea typeface="Segoe UI" pitchFamily="34" charset="0"/>
                <a:cs typeface="Segoe UI" pitchFamily="34" charset="0"/>
              </a:rPr>
              <a:t> can help to reduce performance overhead. For more information about API call batching, see </a:t>
            </a:r>
            <a:r>
              <a:rPr lang="en-US" sz="1050" b="0" i="0" u="sng" kern="1200" dirty="0">
                <a:solidFill>
                  <a:schemeClr val="tx1"/>
                </a:solidFill>
                <a:effectLst/>
                <a:latin typeface="Segoe UI" pitchFamily="34" charset="0"/>
                <a:ea typeface="Segoe UI" pitchFamily="34" charset="0"/>
                <a:cs typeface="Segoe UI" pitchFamily="34" charset="0"/>
                <a:hlinkClick r:id="rId3"/>
              </a:rPr>
              <a:t>Make batch requests with the REST APIs</a:t>
            </a:r>
            <a:r>
              <a:rPr lang="en-US" sz="1050" b="0" i="0" kern="1200" dirty="0">
                <a:solidFill>
                  <a:schemeClr val="tx1"/>
                </a:solidFill>
                <a:effectLst/>
                <a:latin typeface="Segoe UI" pitchFamily="34" charset="0"/>
                <a:ea typeface="Segoe UI" pitchFamily="34" charset="0"/>
                <a:cs typeface="Segoe UI" pitchFamily="34" charset="0"/>
              </a:rPr>
              <a:t>.</a:t>
            </a:r>
          </a:p>
          <a:p>
            <a:r>
              <a:rPr lang="en-US" sz="1050" b="1" i="0" kern="1200" dirty="0">
                <a:solidFill>
                  <a:schemeClr val="tx1"/>
                </a:solidFill>
                <a:effectLst/>
                <a:latin typeface="Segoe UI" pitchFamily="34" charset="0"/>
                <a:ea typeface="Segoe UI" pitchFamily="34" charset="0"/>
                <a:cs typeface="Segoe UI" pitchFamily="34" charset="0"/>
              </a:rPr>
              <a:t>Using a cache</a:t>
            </a:r>
            <a:r>
              <a:rPr lang="en-US" sz="1050" b="0" i="0" kern="1200" dirty="0">
                <a:solidFill>
                  <a:schemeClr val="tx1"/>
                </a:solidFill>
                <a:effectLst/>
                <a:latin typeface="Segoe UI" pitchFamily="34" charset="0"/>
                <a:ea typeface="Segoe UI" pitchFamily="34" charset="0"/>
                <a:cs typeface="Segoe UI" pitchFamily="34" charset="0"/>
              </a:rPr>
              <a:t> to store the results of an API call can improve the performance of a warm request by allowing the client to use the cached data instead of making an additional call for each subsequent page load. There are multiple ways to approach this solution depending on the business requirement. Typically if the data will be the same for all users, using a middle-tier caching service like </a:t>
            </a:r>
            <a:r>
              <a:rPr lang="en-US" sz="1050" b="0" i="1" u="sng" kern="1200" dirty="0">
                <a:solidFill>
                  <a:schemeClr val="tx1"/>
                </a:solidFill>
                <a:effectLst/>
                <a:latin typeface="Segoe UI" pitchFamily="34" charset="0"/>
                <a:ea typeface="Segoe UI" pitchFamily="34" charset="0"/>
                <a:cs typeface="Segoe UI" pitchFamily="34" charset="0"/>
                <a:hlinkClick r:id="rId4"/>
              </a:rPr>
              <a:t>Azure Redis</a:t>
            </a:r>
            <a:r>
              <a:rPr lang="en-US" sz="1050" b="0" i="0" u="sng" kern="1200" dirty="0">
                <a:solidFill>
                  <a:schemeClr val="tx1"/>
                </a:solidFill>
                <a:effectLst/>
                <a:latin typeface="Segoe UI" pitchFamily="34" charset="0"/>
                <a:ea typeface="Segoe UI" pitchFamily="34" charset="0"/>
                <a:cs typeface="Segoe UI" pitchFamily="34" charset="0"/>
                <a:hlinkClick r:id="rId4"/>
              </a:rPr>
              <a:t> cache</a:t>
            </a:r>
            <a:r>
              <a:rPr lang="en-US" sz="1050" b="0" i="0" kern="1200" dirty="0">
                <a:solidFill>
                  <a:schemeClr val="tx1"/>
                </a:solidFill>
                <a:effectLst/>
                <a:latin typeface="Segoe UI" pitchFamily="34" charset="0"/>
                <a:ea typeface="Segoe UI" pitchFamily="34" charset="0"/>
                <a:cs typeface="Segoe UI" pitchFamily="34" charset="0"/>
              </a:rPr>
              <a:t> is a great option to significantly reduce API traffic against a site, as the users would request the data from the caching service instead of directly from SPO. The only SPO calls needed would be to refresh the middle-tier's cache. If the data will fluctuate on an individual user basis, it may be best to implement a client-side cache, like </a:t>
            </a:r>
            <a:r>
              <a:rPr lang="en-US" sz="1050" b="0" i="0" kern="1200" dirty="0" err="1">
                <a:solidFill>
                  <a:schemeClr val="tx1"/>
                </a:solidFill>
                <a:effectLst/>
                <a:latin typeface="Segoe UI" pitchFamily="34" charset="0"/>
                <a:ea typeface="Segoe UI" pitchFamily="34" charset="0"/>
                <a:cs typeface="Segoe UI" pitchFamily="34" charset="0"/>
              </a:rPr>
              <a:t>LocalStorage</a:t>
            </a:r>
            <a:r>
              <a:rPr lang="en-US" sz="1050" b="0" i="0" kern="1200" dirty="0">
                <a:solidFill>
                  <a:schemeClr val="tx1"/>
                </a:solidFill>
                <a:effectLst/>
                <a:latin typeface="Segoe UI" pitchFamily="34" charset="0"/>
                <a:ea typeface="Segoe UI" pitchFamily="34" charset="0"/>
                <a:cs typeface="Segoe UI" pitchFamily="34" charset="0"/>
              </a:rPr>
              <a:t> or even a Cookie. This will still reduce call volumes by eliminating subsequent requests made by the same user for the cache duration but will be less efficient than a dedicated caching service. PnP allows you to use </a:t>
            </a:r>
            <a:r>
              <a:rPr lang="en-US" sz="1050" b="0" i="0" kern="1200" dirty="0" err="1">
                <a:solidFill>
                  <a:schemeClr val="tx1"/>
                </a:solidFill>
                <a:effectLst/>
                <a:latin typeface="Segoe UI" pitchFamily="34" charset="0"/>
                <a:ea typeface="Segoe UI" pitchFamily="34" charset="0"/>
                <a:cs typeface="Segoe UI" pitchFamily="34" charset="0"/>
              </a:rPr>
              <a:t>LocalStorage</a:t>
            </a:r>
            <a:r>
              <a:rPr lang="en-US" sz="1050" b="0" i="0" kern="1200" dirty="0">
                <a:solidFill>
                  <a:schemeClr val="tx1"/>
                </a:solidFill>
                <a:effectLst/>
                <a:latin typeface="Segoe UI" pitchFamily="34" charset="0"/>
                <a:ea typeface="Segoe UI" pitchFamily="34" charset="0"/>
                <a:cs typeface="Segoe UI" pitchFamily="34" charset="0"/>
              </a:rPr>
              <a:t> with little additional development required.</a:t>
            </a:r>
          </a:p>
          <a:p>
            <a:r>
              <a:rPr lang="en-US" sz="1050" b="0" i="0" kern="1200" dirty="0">
                <a:solidFill>
                  <a:schemeClr val="tx1"/>
                </a:solidFill>
                <a:effectLst/>
                <a:latin typeface="Segoe UI" pitchFamily="34" charset="0"/>
                <a:ea typeface="Segoe UI" pitchFamily="34" charset="0"/>
                <a:cs typeface="Segoe UI" pitchFamily="34" charset="0"/>
              </a:rPr>
              <a:t>Before you make page revisions to remediate performance issues, make a note of the page load time in the analysis results. Run the tool again after your revision to see if the new result is within the baseline standard and check the new page load time to see if there was an improvement.</a:t>
            </a:r>
          </a:p>
          <a:p>
            <a:pPr>
              <a:spcBef>
                <a:spcPts val="0"/>
              </a:spcBef>
              <a:spcAft>
                <a:spcPts val="0"/>
              </a:spcAft>
            </a:pPr>
            <a:endParaRPr lang="en-US" b="1"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2507403852"/>
      </p:ext>
    </p:extLst>
  </p:cSld>
  <p:clrMapOvr>
    <a:masterClrMapping/>
  </p:clrMapOvr>
</p:notes>
</file>

<file path=ppt/notesSlides/notesSlide8.xml><?xml version="1.0" encoding="utf-8"?>
<p:notes xmlns:ahyp="http://schemas.microsoft.com/office/drawing/2018/hyperlinkcolor"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lgn="l">
              <a:buFont typeface="Arial" panose="020B0604020202020204" pitchFamily="34" charset="0"/>
              <a:buNone/>
            </a:pPr>
            <a:r>
              <a:rPr lang="en-US" b="1" i="0" u="none" strike="noStrike" dirty="0">
                <a:solidFill>
                  <a:srgbClr val="444444"/>
                </a:solidFill>
                <a:effectLst/>
                <a:latin typeface="helvetica" panose="020B0604020202020204" pitchFamily="34" charset="0"/>
              </a:rPr>
              <a:t>HTTP/2 attempts to solve many of the shortcomings and inflexibilities of HTTP/1.1.</a:t>
            </a:r>
            <a:br>
              <a:rPr lang="en-US" b="1" i="0" u="none" strike="noStrike" dirty="0">
                <a:solidFill>
                  <a:srgbClr val="444444"/>
                </a:solidFill>
                <a:effectLst/>
                <a:latin typeface="helvetica" panose="020B0604020202020204" pitchFamily="34" charset="0"/>
              </a:rPr>
            </a:br>
            <a:r>
              <a:rPr lang="en-US" b="1" i="0" u="none" strike="noStrike" dirty="0">
                <a:solidFill>
                  <a:srgbClr val="444444"/>
                </a:solidFill>
                <a:effectLst/>
                <a:latin typeface="helvetica" panose="020B0604020202020204" pitchFamily="34" charset="0"/>
              </a:rPr>
              <a:t>Its many benefits include:</a:t>
            </a:r>
            <a:r>
              <a:rPr lang="en-US" b="0" i="0" u="none" strike="noStrike" dirty="0">
                <a:solidFill>
                  <a:srgbClr val="444444"/>
                </a:solidFill>
                <a:effectLst/>
                <a:latin typeface="helvetica" panose="020B0604020202020204" pitchFamily="34" charset="0"/>
              </a:rPr>
              <a:t> </a:t>
            </a:r>
            <a:r>
              <a:rPr lang="en-US" b="1" i="0" u="none" strike="noStrike" dirty="0">
                <a:solidFill>
                  <a:srgbClr val="0099CC"/>
                </a:solidFill>
                <a:effectLst/>
                <a:latin typeface="helvetica" panose="020B0604020202020204" pitchFamily="34" charset="0"/>
                <a:hlinkClick r:id="rId3" tooltip="HTTP1.1 vs HTTP2 Demo">
                  <a:extLst>
                    <a:ext uri="{A12FA001-AC4F-418D-AE19-62706E023703}">
                      <ahyp:hlinkClr xmlns:ahyp="http://schemas.microsoft.com/office/drawing/2018/hyperlinkcolor" val="tx"/>
                    </a:ext>
                  </a:extLst>
                </a:hlinkClick>
              </a:rPr>
              <a:t>Multiplexing and concurrency</a:t>
            </a:r>
            <a:r>
              <a:rPr lang="en-US" b="1" i="0" u="none" strike="noStrike" dirty="0">
                <a:solidFill>
                  <a:srgbClr val="444444"/>
                </a:solidFill>
                <a:effectLst/>
                <a:latin typeface="helvetica" panose="020B0604020202020204" pitchFamily="34" charset="0"/>
              </a:rPr>
              <a:t>:</a:t>
            </a:r>
            <a:r>
              <a:rPr lang="en-US" b="0" i="0" u="none" strike="noStrike" dirty="0">
                <a:solidFill>
                  <a:srgbClr val="444444"/>
                </a:solidFill>
                <a:effectLst/>
                <a:latin typeface="helvetica" panose="020B0604020202020204" pitchFamily="34" charset="0"/>
              </a:rPr>
              <a:t> </a:t>
            </a:r>
          </a:p>
          <a:p>
            <a:pPr algn="l">
              <a:buFont typeface="Arial" panose="020B0604020202020204" pitchFamily="34" charset="0"/>
              <a:buNone/>
            </a:pPr>
            <a:r>
              <a:rPr lang="en-US" b="0" i="0" u="none" strike="noStrike" dirty="0">
                <a:solidFill>
                  <a:srgbClr val="444444"/>
                </a:solidFill>
                <a:effectLst/>
                <a:latin typeface="helvetica" panose="020B0604020202020204" pitchFamily="34" charset="0"/>
              </a:rPr>
              <a:t>Several requests can be sent in rapid succession on the same TCP connection, and responses can be received out of order - eliminating the need for multiple connections between the client and the server</a:t>
            </a:r>
          </a:p>
          <a:p>
            <a:pPr algn="l">
              <a:buFont typeface="Arial" panose="020B0604020202020204" pitchFamily="34" charset="0"/>
              <a:buChar char="•"/>
            </a:pPr>
            <a:r>
              <a:rPr lang="en-US" b="1" i="0" u="none" strike="noStrike" dirty="0">
                <a:solidFill>
                  <a:srgbClr val="444444"/>
                </a:solidFill>
                <a:effectLst/>
                <a:latin typeface="helvetica" panose="020B0604020202020204" pitchFamily="34" charset="0"/>
              </a:rPr>
              <a:t>Stream dependencies:</a:t>
            </a:r>
            <a:r>
              <a:rPr lang="en-US" b="0" i="0" u="none" strike="noStrike" dirty="0">
                <a:solidFill>
                  <a:srgbClr val="444444"/>
                </a:solidFill>
                <a:effectLst/>
                <a:latin typeface="helvetica" panose="020B0604020202020204" pitchFamily="34" charset="0"/>
              </a:rPr>
              <a:t> the client can indicate to the server which of the resources are more important</a:t>
            </a:r>
            <a:br>
              <a:rPr lang="en-US" b="0" i="0" u="none" strike="noStrike" dirty="0">
                <a:solidFill>
                  <a:srgbClr val="444444"/>
                </a:solidFill>
                <a:effectLst/>
                <a:latin typeface="helvetica" panose="020B0604020202020204" pitchFamily="34" charset="0"/>
              </a:rPr>
            </a:br>
            <a:r>
              <a:rPr lang="en-US" b="0" i="0" u="none" strike="noStrike" dirty="0">
                <a:solidFill>
                  <a:srgbClr val="444444"/>
                </a:solidFill>
                <a:effectLst/>
                <a:latin typeface="helvetica" panose="020B0604020202020204" pitchFamily="34" charset="0"/>
              </a:rPr>
              <a:t>than the others</a:t>
            </a:r>
          </a:p>
          <a:p>
            <a:pPr algn="l">
              <a:buFont typeface="Arial" panose="020B0604020202020204" pitchFamily="34" charset="0"/>
              <a:buChar char="•"/>
            </a:pPr>
            <a:r>
              <a:rPr lang="en-US" b="1" i="0" u="none" strike="noStrike" dirty="0">
                <a:solidFill>
                  <a:srgbClr val="444444"/>
                </a:solidFill>
                <a:effectLst/>
                <a:latin typeface="helvetica" panose="020B0604020202020204" pitchFamily="34" charset="0"/>
              </a:rPr>
              <a:t>Header compression:</a:t>
            </a:r>
            <a:r>
              <a:rPr lang="en-US" b="0" i="0" u="none" strike="noStrike" dirty="0">
                <a:solidFill>
                  <a:srgbClr val="444444"/>
                </a:solidFill>
                <a:effectLst/>
                <a:latin typeface="helvetica" panose="020B0604020202020204" pitchFamily="34" charset="0"/>
              </a:rPr>
              <a:t> HTTP header size is drastically reduced</a:t>
            </a:r>
          </a:p>
          <a:p>
            <a:pPr algn="l">
              <a:buFont typeface="Arial" panose="020B0604020202020204" pitchFamily="34" charset="0"/>
              <a:buChar char="•"/>
            </a:pPr>
            <a:r>
              <a:rPr lang="en-US" b="1" i="0" u="none" strike="noStrike" dirty="0">
                <a:solidFill>
                  <a:srgbClr val="444444"/>
                </a:solidFill>
                <a:effectLst/>
                <a:latin typeface="helvetica" panose="020B0604020202020204" pitchFamily="34" charset="0"/>
              </a:rPr>
              <a:t>Server push:</a:t>
            </a:r>
            <a:r>
              <a:rPr lang="en-US" b="0" i="0" u="none" strike="noStrike" dirty="0">
                <a:solidFill>
                  <a:srgbClr val="444444"/>
                </a:solidFill>
                <a:effectLst/>
                <a:latin typeface="helvetica" panose="020B0604020202020204" pitchFamily="34" charset="0"/>
              </a:rPr>
              <a:t> The server can send resources the client has not yet requested</a:t>
            </a:r>
          </a:p>
          <a:p>
            <a:pPr>
              <a:spcBef>
                <a:spcPts val="0"/>
              </a:spcBef>
              <a:spcAft>
                <a:spcPts val="0"/>
              </a:spcAft>
            </a:pPr>
            <a:endParaRPr lang="en-US" b="1"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3337268072"/>
      </p:ext>
    </p:extLst>
  </p:cSld>
  <p:clrMapOvr>
    <a:masterClrMapping/>
  </p:clrMapOvr>
</p:notes>
</file>

<file path=ppt/notesSlides/notesSlide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050" dirty="0"/>
              <a:t>The image rendition resizing works by taking the smallest dimension you define, either width or height, and then resizing the image so that the other dimension is automatically resized based on the locked aspect ratio</a:t>
            </a:r>
            <a:endParaRPr lang="en-US" sz="1050" dirty="0">
              <a:solidFill>
                <a:srgbClr val="505050">
                  <a:hueOff val="0"/>
                  <a:satOff val="0"/>
                  <a:lumOff val="0"/>
                  <a:alphaOff val="0"/>
                </a:srgbClr>
              </a:solidFill>
              <a:latin typeface="Segoe UI" panose="020B0502040204020203" pitchFamily="34" charset="0"/>
              <a:cs typeface="Segoe UI" panose="020B0502040204020203" pitchFamily="34" charset="0"/>
            </a:endParaRPr>
          </a:p>
          <a:p>
            <a:pPr>
              <a:spcBef>
                <a:spcPts val="0"/>
              </a:spcBef>
              <a:spcAft>
                <a:spcPts val="0"/>
              </a:spcAft>
            </a:pPr>
            <a:endParaRPr lang="en-US" b="1" dirty="0"/>
          </a:p>
          <a:p>
            <a:pPr>
              <a:spcBef>
                <a:spcPts val="0"/>
              </a:spcBef>
              <a:spcAft>
                <a:spcPts val="0"/>
              </a:spcAft>
            </a:pPr>
            <a:r>
              <a:rPr lang="en-US" b="1" dirty="0"/>
              <a:t>https://docs.microsoft.com/en-us/office365/enterprise/image-optimization-for-sharepoint-online</a:t>
            </a:r>
          </a:p>
          <a:p>
            <a:pPr>
              <a:spcBef>
                <a:spcPts val="0"/>
              </a:spcBef>
              <a:spcAft>
                <a:spcPts val="0"/>
              </a:spcAft>
            </a:pPr>
            <a:r>
              <a:rPr lang="en-US" b="1" dirty="0"/>
              <a:t>Also see </a:t>
            </a:r>
            <a:br>
              <a:rPr lang="en-US" b="1" dirty="0"/>
            </a:br>
            <a:r>
              <a:rPr lang="en-US" sz="1050" b="1" i="0" u="none" strike="noStrike" kern="1200" dirty="0">
                <a:solidFill>
                  <a:schemeClr val="tx1"/>
                </a:solidFill>
                <a:effectLst/>
                <a:latin typeface="Segoe UI" pitchFamily="34" charset="0"/>
                <a:ea typeface="Segoe UI" pitchFamily="34" charset="0"/>
                <a:cs typeface="Segoe UI" pitchFamily="34" charset="0"/>
              </a:rPr>
              <a:t>Performance guidance for SharePoint Online portals</a:t>
            </a:r>
            <a:endParaRPr lang="en-US" b="1" dirty="0"/>
          </a:p>
          <a:p>
            <a:pPr>
              <a:spcBef>
                <a:spcPts val="0"/>
              </a:spcBef>
              <a:spcAft>
                <a:spcPts val="0"/>
              </a:spcAft>
            </a:pPr>
            <a:r>
              <a:rPr lang="en-US" b="1" dirty="0"/>
              <a:t>https://docs.microsoft.com/en-us/sharepoint/dev/solution-guidance/portal-performance</a:t>
            </a:r>
          </a:p>
          <a:p>
            <a:pPr>
              <a:spcBef>
                <a:spcPts val="0"/>
              </a:spcBef>
              <a:spcAft>
                <a:spcPts val="0"/>
              </a:spcAft>
            </a:pPr>
            <a:endParaRPr lang="en-US" b="1"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40489064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bin"/><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hasCustomPrompt="1"/>
          </p:nvPr>
        </p:nvSpPr>
        <p:spPr>
          <a:xfrm>
            <a:off x="655637" y="2487168"/>
            <a:ext cx="4352925" cy="1097280"/>
          </a:xfrm>
        </p:spPr>
        <p:txBody>
          <a:bodyPr bIns="45720" anchor="b">
            <a:noAutofit/>
          </a:bodyPr>
          <a:lstStyle>
            <a:lvl1pPr algn="l">
              <a:defRPr sz="2800">
                <a:solidFill>
                  <a:schemeClr val="tx1"/>
                </a:solidFill>
              </a:defRPr>
            </a:lvl1pPr>
          </a:lstStyle>
          <a:p>
            <a:r>
              <a:rPr lang="en-US" noProof="0" dirty="0"/>
              <a:t>Tit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hasCustomPrompt="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Module x</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6" name="M365CO19_ENT_Android_236" descr="Male business executive looking out office window with Android mobile device in hand.">
            <a:extLst>
              <a:ext uri="{FF2B5EF4-FFF2-40B4-BE49-F238E27FC236}">
                <a16:creationId xmlns:a16="http://schemas.microsoft.com/office/drawing/2014/main" id="{63F1F8C3-0B3D-4E7A-88CD-282F1ECB1A70}"/>
              </a:ext>
            </a:extLst>
          </p:cNvPr>
          <p:cNvPicPr>
            <a:picLocks noChangeAspect="1"/>
          </p:cNvPicPr>
          <p:nvPr userDrawn="1">
            <p:custDataLst>
              <p:tags r:id="rId1"/>
            </p:custDataLst>
          </p:nvPr>
        </p:nvPicPr>
        <p:blipFill rotWithShape="1">
          <a:blip r:embed="rId4" cstate="screen">
            <a:extLst>
              <a:ext uri="{28A0092B-C50C-407E-A947-70E740481C1C}">
                <a14:useLocalDpi xmlns:a14="http://schemas.microsoft.com/office/drawing/2010/main"/>
              </a:ext>
            </a:extLst>
          </a:blip>
          <a:srcRect l="16617" r="16617"/>
          <a:stretch/>
        </p:blipFill>
        <p:spPr>
          <a:xfrm>
            <a:off x="5334000" y="3175"/>
            <a:ext cx="6858000" cy="6858000"/>
          </a:xfrm>
          <a:prstGeom prst="rect">
            <a:avLst/>
          </a:prstGeom>
        </p:spPr>
      </p:pic>
    </p:spTree>
    <p:extLst>
      <p:ext uri="{BB962C8B-B14F-4D97-AF65-F5344CB8AC3E}">
        <p14:creationId xmlns:p14="http://schemas.microsoft.com/office/powerpoint/2010/main" val="261187182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hasCustomPrompt="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Sub-Heading</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a:defRPr sz="2400"/>
            </a:lvl1pPr>
            <a:lvl5pPr>
              <a:defRPr/>
            </a:lvl5pPr>
          </a:lstStyle>
          <a:p>
            <a:pPr lvl="0"/>
            <a:r>
              <a:rPr lang="en-US" noProof="0" dirty="0"/>
              <a:t>Lis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6654630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1685582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40172558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M">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5" name="SmartArt Placeholder 4">
            <a:extLst>
              <a:ext uri="{FF2B5EF4-FFF2-40B4-BE49-F238E27FC236}">
                <a16:creationId xmlns:a16="http://schemas.microsoft.com/office/drawing/2014/main" id="{DF30555C-FC9C-4A26-8C39-A508F8730962}"/>
              </a:ext>
            </a:extLst>
          </p:cNvPr>
          <p:cNvSpPr>
            <a:spLocks noGrp="1"/>
          </p:cNvSpPr>
          <p:nvPr>
            <p:ph type="dgm" sz="quarter" idx="10"/>
          </p:nvPr>
        </p:nvSpPr>
        <p:spPr>
          <a:xfrm>
            <a:off x="655638" y="1170432"/>
            <a:ext cx="10880725" cy="5234432"/>
          </a:xfrm>
        </p:spPr>
        <p:txBody>
          <a:bodyPr/>
          <a:lstStyle/>
          <a:p>
            <a:r>
              <a:rPr lang="en-US"/>
              <a:t>Click icon to add SmartArt graphic</a:t>
            </a:r>
          </a:p>
        </p:txBody>
      </p:sp>
    </p:spTree>
    <p:extLst>
      <p:ext uri="{BB962C8B-B14F-4D97-AF65-F5344CB8AC3E}">
        <p14:creationId xmlns:p14="http://schemas.microsoft.com/office/powerpoint/2010/main" val="46000178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75611891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Title Only">
    <p:bg>
      <p:bgPr>
        <a:solidFill>
          <a:srgbClr val="243A5E"/>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lvl1pPr>
              <a:defRPr>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97331166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3213831"/>
            <a:ext cx="5284787" cy="3013931"/>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3213831"/>
            <a:ext cx="5284785" cy="301393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3 Content Placeholder left">
            <a:extLst>
              <a:ext uri="{FF2B5EF4-FFF2-40B4-BE49-F238E27FC236}">
                <a16:creationId xmlns:a16="http://schemas.microsoft.com/office/drawing/2014/main" id="{0809F1C3-92E0-43D9-A1DD-84447DEDF05A}"/>
              </a:ext>
            </a:extLst>
          </p:cNvPr>
          <p:cNvSpPr>
            <a:spLocks noGrp="1"/>
          </p:cNvSpPr>
          <p:nvPr>
            <p:ph sz="quarter" idx="15"/>
          </p:nvPr>
        </p:nvSpPr>
        <p:spPr>
          <a:xfrm>
            <a:off x="655637" y="1248048"/>
            <a:ext cx="10880724" cy="174168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644884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3738880"/>
            <a:ext cx="10880726" cy="248888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2344528"/>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98294161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2682240"/>
            <a:ext cx="10880726" cy="354552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113752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29759244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5120640"/>
            <a:ext cx="10880726" cy="110712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3645008"/>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247570972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7951AEF9-47FF-4DE6-B6CD-00229DD8D6D5}"/>
              </a:ext>
            </a:extLst>
          </p:cNvPr>
          <p:cNvSpPr>
            <a:spLocks noGrp="1"/>
          </p:cNvSpPr>
          <p:nvPr>
            <p:ph type="body" sz="quarter" idx="11"/>
          </p:nvPr>
        </p:nvSpPr>
        <p:spPr>
          <a:xfrm>
            <a:off x="5008563" y="630238"/>
            <a:ext cx="6527800" cy="559752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8C5A3FB9-3681-4470-9515-9E433CB99DCD}"/>
              </a:ext>
            </a:extLst>
          </p:cNvPr>
          <p:cNvSpPr>
            <a:spLocks noGrp="1"/>
          </p:cNvSpPr>
          <p:nvPr>
            <p:ph type="title"/>
          </p:nvPr>
        </p:nvSpPr>
        <p:spPr>
          <a:xfrm>
            <a:off x="655639" y="630238"/>
            <a:ext cx="3152330" cy="5597524"/>
          </a:xfrm>
        </p:spPr>
        <p:txBody>
          <a:bodyPr anchor="ct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18432656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71695787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271761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lim-wid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2534602"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3430016" y="1408113"/>
            <a:ext cx="810634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860739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Wide-slim">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9001759" y="1408113"/>
            <a:ext cx="2534602"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55638" y="1408113"/>
            <a:ext cx="810634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0725114"/>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875577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43477966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216216901"/>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206979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915827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633096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p:nvPr>
        </p:nvSpPr>
        <p:spPr>
          <a:xfrm>
            <a:off x="8420100" y="630237"/>
            <a:ext cx="3116263" cy="5597525"/>
          </a:xfrm>
        </p:spPr>
        <p:txBody>
          <a:bodyPr anchor="ctr">
            <a:noAutofit/>
          </a:bodyPr>
          <a:lstStyle>
            <a:lvl1pPr>
              <a:defRPr>
                <a:solidFill>
                  <a:schemeClr val="bg1"/>
                </a:solidFill>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736881" y="630236"/>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p:txBody>
      </p:sp>
    </p:spTree>
    <p:extLst>
      <p:ext uri="{BB962C8B-B14F-4D97-AF65-F5344CB8AC3E}">
        <p14:creationId xmlns:p14="http://schemas.microsoft.com/office/powerpoint/2010/main" val="1803159956"/>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5381791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7085871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3069407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2444447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3738177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904165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768499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4209349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346248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1241805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7007326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09628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4161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835361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0" indent="0">
              <a:spcAft>
                <a:spcPts val="1200"/>
              </a:spcAft>
              <a:buFont typeface="Arial" panose="020B0604020202020204" pitchFamily="34" charset="0"/>
              <a:buNone/>
              <a:defRPr sz="2400"/>
            </a:lvl1pPr>
            <a:lvl2pPr marL="342900" indent="-342900">
              <a:buFont typeface="Arial" panose="020B0604020202020204" pitchFamily="34" charset="0"/>
              <a:buChar cha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5046949"/>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162470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543245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246453"/>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33434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dirty="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61492002"/>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965807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64134387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8172619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3340007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2555916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7864727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387628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Demonstration&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PS Read line</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02BDC52-EDD0-4378-9D43-56BE2973EC68}"/>
              </a:ext>
            </a:extLst>
          </p:cNvPr>
          <p:cNvPicPr>
            <a:picLocks noChangeAspect="1"/>
          </p:cNvPicPr>
          <p:nvPr userDrawn="1">
            <p:custDataLst>
              <p:tags r:id="rId1"/>
            </p:custDataLst>
          </p:nvPr>
        </p:nvPicPr>
        <p:blipFill rotWithShape="1">
          <a:blip r:embed="rId3" cstate="screen">
            <a:extLst>
              <a:ext uri="{28A0092B-C50C-407E-A947-70E740481C1C}">
                <a14:useLocalDpi xmlns:a14="http://schemas.microsoft.com/office/drawing/2010/main"/>
              </a:ext>
            </a:extLst>
          </a:blip>
          <a:srcRect l="5986" r="5986"/>
          <a:stretch/>
        </p:blipFill>
        <p:spPr>
          <a:xfrm>
            <a:off x="5362448" y="0"/>
            <a:ext cx="6858000" cy="6858000"/>
          </a:xfrm>
          <a:prstGeom prst="rect">
            <a:avLst/>
          </a:prstGeom>
        </p:spPr>
      </p:pic>
    </p:spTree>
    <p:extLst>
      <p:ext uri="{BB962C8B-B14F-4D97-AF65-F5344CB8AC3E}">
        <p14:creationId xmlns:p14="http://schemas.microsoft.com/office/powerpoint/2010/main" val="288100259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b_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A4B305F-9255-48C4-9C75-97132A310027}"/>
              </a:ext>
            </a:extLst>
          </p:cNvPr>
          <p:cNvSpPr/>
          <p:nvPr userDrawn="1"/>
        </p:nvSpPr>
        <p:spPr bwMode="auto">
          <a:xfrm>
            <a:off x="5319776" y="0"/>
            <a:ext cx="6872224" cy="6858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Lab Name&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Lab Description</a:t>
            </a:r>
          </a:p>
        </p:txBody>
      </p:sp>
      <p:pic>
        <p:nvPicPr>
          <p:cNvPr id="5" name="Lab" descr="A close up of a sign&#10;">
            <a:extLst>
              <a:ext uri="{FF2B5EF4-FFF2-40B4-BE49-F238E27FC236}">
                <a16:creationId xmlns:a16="http://schemas.microsoft.com/office/drawing/2014/main" id="{C0E3C3B5-9CC7-46D1-A4EF-077A0F4B5F52}"/>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extLst>
      <p:ext uri="{BB962C8B-B14F-4D97-AF65-F5344CB8AC3E}">
        <p14:creationId xmlns:p14="http://schemas.microsoft.com/office/powerpoint/2010/main" val="3442786769"/>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Questions?&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pic>
        <p:nvPicPr>
          <p:cNvPr id="7" name="Multiple Question Marks" descr="Multiple Question Marks">
            <a:extLst>
              <a:ext uri="{FF2B5EF4-FFF2-40B4-BE49-F238E27FC236}">
                <a16:creationId xmlns:a16="http://schemas.microsoft.com/office/drawing/2014/main" id="{DFA98C70-EDD1-4FDA-BC92-DE43A3A9C9C7}"/>
              </a:ext>
            </a:extLst>
          </p:cNvPr>
          <p:cNvPicPr>
            <a:picLocks noChangeAspect="1"/>
          </p:cNvPicPr>
          <p:nvPr userDrawn="1">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5283518" y="0"/>
            <a:ext cx="6908482" cy="6858000"/>
          </a:xfrm>
          <a:prstGeom prst="rect">
            <a:avLst/>
          </a:prstGeom>
        </p:spPr>
      </p:pic>
    </p:spTree>
    <p:extLst>
      <p:ext uri="{BB962C8B-B14F-4D97-AF65-F5344CB8AC3E}">
        <p14:creationId xmlns:p14="http://schemas.microsoft.com/office/powerpoint/2010/main" val="335309443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_Square_Photo">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0355509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4.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3.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8866671"/>
      </p:ext>
    </p:extLst>
  </p:cSld>
  <p:clrMap bg1="lt1" tx1="dk1" bg2="lt2" tx2="dk2" accent1="accent1" accent2="accent2" accent3="accent3" accent4="accent4" accent5="accent5" accent6="accent6" hlink="hlink" folHlink="folHlink"/>
  <p:sldLayoutIdLst>
    <p:sldLayoutId id="2147483993" r:id="rId1"/>
    <p:sldLayoutId id="2147484026" r:id="rId2"/>
    <p:sldLayoutId id="2147484039" r:id="rId3"/>
    <p:sldLayoutId id="2147484006" r:id="rId4"/>
    <p:sldLayoutId id="2147484007" r:id="rId5"/>
    <p:sldLayoutId id="2147484010" r:id="rId6"/>
    <p:sldLayoutId id="2147484035" r:id="rId7"/>
    <p:sldLayoutId id="2147484036" r:id="rId8"/>
    <p:sldLayoutId id="2147484037" r:id="rId9"/>
    <p:sldLayoutId id="2147483999" r:id="rId10"/>
    <p:sldLayoutId id="2147483998" r:id="rId11"/>
    <p:sldLayoutId id="2147484000" r:id="rId12"/>
    <p:sldLayoutId id="2147484043" r:id="rId13"/>
    <p:sldLayoutId id="2147484004" r:id="rId14"/>
    <p:sldLayoutId id="2147484038" r:id="rId15"/>
    <p:sldLayoutId id="2147484041" r:id="rId16"/>
    <p:sldLayoutId id="2147484042" r:id="rId17"/>
    <p:sldLayoutId id="2147484046" r:id="rId18"/>
    <p:sldLayoutId id="2147484047" r:id="rId19"/>
    <p:sldLayoutId id="2147484001" r:id="rId20"/>
    <p:sldLayoutId id="2147484002" r:id="rId21"/>
    <p:sldLayoutId id="2147484044" r:id="rId22"/>
    <p:sldLayoutId id="2147484045" r:id="rId23"/>
    <p:sldLayoutId id="2147484003" r:id="rId24"/>
    <p:sldLayoutId id="2147484005" r:id="rId25"/>
    <p:sldLayoutId id="2147484008" r:id="rId26"/>
    <p:sldLayoutId id="2147484009" r:id="rId27"/>
    <p:sldLayoutId id="2147484011" r:id="rId28"/>
    <p:sldLayoutId id="2147484012" r:id="rId29"/>
    <p:sldLayoutId id="2147484013" r:id="rId30"/>
    <p:sldLayoutId id="2147484014" r:id="rId31"/>
    <p:sldLayoutId id="2147484015" r:id="rId32"/>
    <p:sldLayoutId id="2147484016" r:id="rId33"/>
    <p:sldLayoutId id="2147484017" r:id="rId34"/>
    <p:sldLayoutId id="2147484018" r:id="rId35"/>
    <p:sldLayoutId id="2147484019" r:id="rId36"/>
    <p:sldLayoutId id="2147484020" r:id="rId37"/>
    <p:sldLayoutId id="2147484021" r:id="rId38"/>
    <p:sldLayoutId id="2147484022" r:id="rId39"/>
    <p:sldLayoutId id="2147484023" r:id="rId40"/>
    <p:sldLayoutId id="2147484024" r:id="rId41"/>
    <p:sldLayoutId id="2147484025" r:id="rId42"/>
    <p:sldLayoutId id="2147484027" r:id="rId43"/>
    <p:sldLayoutId id="2147484028" r:id="rId44"/>
    <p:sldLayoutId id="2147484029" r:id="rId45"/>
    <p:sldLayoutId id="2147484030" r:id="rId46"/>
    <p:sldLayoutId id="2147484031" r:id="rId47"/>
    <p:sldLayoutId id="2147484032" r:id="rId48"/>
    <p:sldLayoutId id="2147484033" r:id="rId49"/>
    <p:sldLayoutId id="2147483994" r:id="rId50"/>
    <p:sldLayoutId id="2147483995" r:id="rId51"/>
    <p:sldLayoutId id="2147483996" r:id="rId52"/>
    <p:sldLayoutId id="2147483997" r:id="rId53"/>
    <p:sldLayoutId id="2147484034" r:id="rId5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40.xml"/><Relationship Id="rId5" Type="http://schemas.openxmlformats.org/officeDocument/2006/relationships/image" Target="../media/image10.jpeg"/><Relationship Id="rId4" Type="http://schemas.openxmlformats.org/officeDocument/2006/relationships/image" Target="../media/image9.jpeg"/></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1.xml"/><Relationship Id="rId1" Type="http://schemas.openxmlformats.org/officeDocument/2006/relationships/slideLayout" Target="../slideLayouts/slideLayout11.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2.xml"/><Relationship Id="rId1" Type="http://schemas.openxmlformats.org/officeDocument/2006/relationships/slideLayout" Target="../slideLayouts/slideLayout10.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3.xml"/><Relationship Id="rId1" Type="http://schemas.openxmlformats.org/officeDocument/2006/relationships/slideLayout" Target="../slideLayouts/slideLayout11.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11.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image" Target="../media/image27.png"/><Relationship Id="rId7" Type="http://schemas.openxmlformats.org/officeDocument/2006/relationships/diagramColors" Target="../diagrams/colors9.xml"/><Relationship Id="rId2" Type="http://schemas.openxmlformats.org/officeDocument/2006/relationships/notesSlide" Target="../notesSlides/notesSlide15.xml"/><Relationship Id="rId1" Type="http://schemas.openxmlformats.org/officeDocument/2006/relationships/slideLayout" Target="../slideLayouts/slideLayout15.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s>
</file>

<file path=ppt/slides/_rels/slide17.xml.rels><?xml version="1.0" encoding="UTF-8" standalone="yes"?>
<Relationships xmlns="http://schemas.openxmlformats.org/package/2006/relationships"><Relationship Id="rId8" Type="http://schemas.microsoft.com/office/2007/relationships/diagramDrawing" Target="../diagrams/drawing10.xml"/><Relationship Id="rId3" Type="http://schemas.openxmlformats.org/officeDocument/2006/relationships/image" Target="../media/image28.png"/><Relationship Id="rId7" Type="http://schemas.openxmlformats.org/officeDocument/2006/relationships/diagramColors" Target="../diagrams/colors10.xml"/><Relationship Id="rId2" Type="http://schemas.openxmlformats.org/officeDocument/2006/relationships/notesSlide" Target="../notesSlides/notesSlide16.xml"/><Relationship Id="rId1" Type="http://schemas.openxmlformats.org/officeDocument/2006/relationships/slideLayout" Target="../slideLayouts/slideLayout15.xml"/><Relationship Id="rId6" Type="http://schemas.openxmlformats.org/officeDocument/2006/relationships/diagramQuickStyle" Target="../diagrams/quickStyle10.xml"/><Relationship Id="rId5" Type="http://schemas.openxmlformats.org/officeDocument/2006/relationships/diagramLayout" Target="../diagrams/layout10.xml"/><Relationship Id="rId4" Type="http://schemas.openxmlformats.org/officeDocument/2006/relationships/diagramData" Target="../diagrams/data10.xml"/></Relationships>
</file>

<file path=ppt/slides/_rels/slide18.xml.rels><?xml version="1.0" encoding="UTF-8" standalone="yes"?>
<Relationships xmlns="http://schemas.openxmlformats.org/package/2006/relationships"><Relationship Id="rId8" Type="http://schemas.openxmlformats.org/officeDocument/2006/relationships/diagramColors" Target="../diagrams/colors11.xml"/><Relationship Id="rId3" Type="http://schemas.openxmlformats.org/officeDocument/2006/relationships/image" Target="../media/image29.png"/><Relationship Id="rId7" Type="http://schemas.openxmlformats.org/officeDocument/2006/relationships/diagramQuickStyle" Target="../diagrams/quickStyle11.xml"/><Relationship Id="rId2" Type="http://schemas.openxmlformats.org/officeDocument/2006/relationships/notesSlide" Target="../notesSlides/notesSlide17.xml"/><Relationship Id="rId1" Type="http://schemas.openxmlformats.org/officeDocument/2006/relationships/slideLayout" Target="../slideLayouts/slideLayout15.xml"/><Relationship Id="rId6" Type="http://schemas.openxmlformats.org/officeDocument/2006/relationships/diagramLayout" Target="../diagrams/layout11.xml"/><Relationship Id="rId5" Type="http://schemas.openxmlformats.org/officeDocument/2006/relationships/diagramData" Target="../diagrams/data11.xml"/><Relationship Id="rId4" Type="http://schemas.openxmlformats.org/officeDocument/2006/relationships/hyperlink" Target="http://aka.ms/pnc" TargetMode="External"/><Relationship Id="rId9" Type="http://schemas.microsoft.com/office/2007/relationships/diagramDrawing" Target="../diagrams/drawing11.xml"/></Relationships>
</file>

<file path=ppt/slides/_rels/slide19.xml.rels><?xml version="1.0" encoding="UTF-8" standalone="yes"?>
<Relationships xmlns="http://schemas.openxmlformats.org/package/2006/relationships"><Relationship Id="rId8" Type="http://schemas.openxmlformats.org/officeDocument/2006/relationships/image" Target="../media/image34.emf"/><Relationship Id="rId3" Type="http://schemas.openxmlformats.org/officeDocument/2006/relationships/hyperlink" Target="https://aka.ms/pnc" TargetMode="External"/><Relationship Id="rId7" Type="http://schemas.openxmlformats.org/officeDocument/2006/relationships/image" Target="../media/image33.emf"/><Relationship Id="rId2" Type="http://schemas.openxmlformats.org/officeDocument/2006/relationships/notesSlide" Target="../notesSlides/notesSlide18.xml"/><Relationship Id="rId1" Type="http://schemas.openxmlformats.org/officeDocument/2006/relationships/slideLayout" Target="../slideLayouts/slideLayout47.xml"/><Relationship Id="rId6" Type="http://schemas.openxmlformats.org/officeDocument/2006/relationships/image" Target="../media/image32.emf"/><Relationship Id="rId5" Type="http://schemas.openxmlformats.org/officeDocument/2006/relationships/image" Target="../media/image31.emf"/><Relationship Id="rId10" Type="http://schemas.openxmlformats.org/officeDocument/2006/relationships/image" Target="../media/image36.emf"/><Relationship Id="rId4" Type="http://schemas.openxmlformats.org/officeDocument/2006/relationships/image" Target="../media/image30.emf"/><Relationship Id="rId9" Type="http://schemas.openxmlformats.org/officeDocument/2006/relationships/image" Target="../media/image35.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2.xml"/><Relationship Id="rId1" Type="http://schemas.openxmlformats.org/officeDocument/2006/relationships/slideLayout" Target="../slideLayouts/slideLayout11.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3.xml"/><Relationship Id="rId1" Type="http://schemas.openxmlformats.org/officeDocument/2006/relationships/slideLayout" Target="../slideLayouts/slideLayout11.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4.xml"/><Relationship Id="rId1" Type="http://schemas.openxmlformats.org/officeDocument/2006/relationships/slideLayout" Target="../slideLayouts/slideLayout18.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26.xml"/><Relationship Id="rId1" Type="http://schemas.openxmlformats.org/officeDocument/2006/relationships/slideLayout" Target="../slideLayouts/slideLayout11.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55637" y="2487168"/>
            <a:ext cx="4352925" cy="1097280"/>
          </a:xfrm>
        </p:spPr>
        <p:txBody>
          <a:bodyPr/>
          <a:lstStyle/>
          <a:p>
            <a:r>
              <a:rPr lang="en-US" dirty="0"/>
              <a:t>SharePoint Online Page </a:t>
            </a:r>
            <a:r>
              <a:rPr lang="en-US"/>
              <a:t>Load Performance</a:t>
            </a:r>
            <a:endParaRPr lang="nb-NO" dirty="0"/>
          </a:p>
        </p:txBody>
      </p:sp>
      <p:sp>
        <p:nvSpPr>
          <p:cNvPr id="3" name="Text Placeholder 2"/>
          <p:cNvSpPr>
            <a:spLocks noGrp="1"/>
          </p:cNvSpPr>
          <p:nvPr>
            <p:ph type="subTitle" idx="1"/>
          </p:nvPr>
        </p:nvSpPr>
        <p:spPr>
          <a:xfrm>
            <a:off x="655638" y="3895090"/>
            <a:ext cx="4352924" cy="311150"/>
          </a:xfrm>
        </p:spPr>
        <p:txBody>
          <a:bodyPr>
            <a:normAutofit lnSpcReduction="10000"/>
          </a:bodyPr>
          <a:lstStyle/>
          <a:p>
            <a:r>
              <a:rPr lang="nb-NO" dirty="0"/>
              <a:t>Speaker Name</a:t>
            </a:r>
          </a:p>
        </p:txBody>
      </p:sp>
      <p:sp>
        <p:nvSpPr>
          <p:cNvPr id="7" name="Picture Placeholder 6">
            <a:extLst>
              <a:ext uri="{FF2B5EF4-FFF2-40B4-BE49-F238E27FC236}">
                <a16:creationId xmlns:a16="http://schemas.microsoft.com/office/drawing/2014/main" id="{D201CF08-3D0D-4720-97A7-60F6C446467B}"/>
              </a:ext>
            </a:extLst>
          </p:cNvPr>
          <p:cNvSpPr>
            <a:spLocks noGrp="1"/>
          </p:cNvSpPr>
          <p:nvPr>
            <p:ph type="pic" sz="quarter" idx="17"/>
          </p:nvPr>
        </p:nvSpPr>
        <p:spPr/>
      </p:sp>
    </p:spTree>
    <p:extLst>
      <p:ext uri="{BB962C8B-B14F-4D97-AF65-F5344CB8AC3E}">
        <p14:creationId xmlns:p14="http://schemas.microsoft.com/office/powerpoint/2010/main" val="1338941273"/>
      </p:ext>
    </p:extLst>
  </p:cSld>
  <p:clrMapOvr>
    <a:masterClrMapping/>
  </p:clrMapOvr>
  <p:transition>
    <p:fade/>
  </p:transition>
</p:sld>
</file>

<file path=ppt/slides/slide10.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485140C1-A197-4BD5-8241-EDCB45792CCD}"/>
              </a:ext>
            </a:extLst>
          </p:cNvPr>
          <p:cNvSpPr/>
          <p:nvPr/>
        </p:nvSpPr>
        <p:spPr>
          <a:xfrm>
            <a:off x="269239" y="2464049"/>
            <a:ext cx="11653522" cy="4277319"/>
          </a:xfrm>
          <a:custGeom>
            <a:avLst/>
            <a:gdLst>
              <a:gd name="connsiteX0" fmla="*/ 0 w 11653522"/>
              <a:gd name="connsiteY0" fmla="*/ 0 h 1651860"/>
              <a:gd name="connsiteX1" fmla="*/ 11653522 w 11653522"/>
              <a:gd name="connsiteY1" fmla="*/ 0 h 1651860"/>
              <a:gd name="connsiteX2" fmla="*/ 11653522 w 11653522"/>
              <a:gd name="connsiteY2" fmla="*/ 1651860 h 1651860"/>
              <a:gd name="connsiteX3" fmla="*/ 0 w 11653522"/>
              <a:gd name="connsiteY3" fmla="*/ 1651860 h 1651860"/>
              <a:gd name="connsiteX4" fmla="*/ 0 w 11653522"/>
              <a:gd name="connsiteY4" fmla="*/ 0 h 1651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3522" h="1651860">
                <a:moveTo>
                  <a:pt x="0" y="0"/>
                </a:moveTo>
                <a:lnTo>
                  <a:pt x="11653522" y="0"/>
                </a:lnTo>
                <a:lnTo>
                  <a:pt x="11653522" y="1651860"/>
                </a:lnTo>
                <a:lnTo>
                  <a:pt x="0" y="165186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9999" tIns="35560" rIns="199136" bIns="35560" numCol="1" spcCol="1270" anchor="t" anchorCtr="0">
            <a:noAutofit/>
          </a:bodyPr>
          <a:lstStyle/>
          <a:p>
            <a:pPr marL="0" lvl="1" defTabSz="977900">
              <a:lnSpc>
                <a:spcPct val="90000"/>
              </a:lnSpc>
              <a:spcBef>
                <a:spcPct val="0"/>
              </a:spcBef>
              <a:spcAft>
                <a:spcPct val="20000"/>
              </a:spcAft>
              <a:defRPr/>
            </a:pPr>
            <a:endParaRPr lang="en-US" dirty="0">
              <a:solidFill>
                <a:srgbClr val="505050">
                  <a:hueOff val="0"/>
                  <a:satOff val="0"/>
                  <a:lumOff val="0"/>
                  <a:alphaOff val="0"/>
                </a:srgbClr>
              </a:solidFill>
            </a:endParaRPr>
          </a:p>
          <a:p>
            <a:pPr marL="228600" lvl="1" indent="-228600" defTabSz="977900">
              <a:lnSpc>
                <a:spcPct val="90000"/>
              </a:lnSpc>
              <a:spcBef>
                <a:spcPct val="0"/>
              </a:spcBef>
              <a:spcAft>
                <a:spcPct val="20000"/>
              </a:spcAft>
              <a:buChar char="•"/>
            </a:pPr>
            <a:endParaRPr lang="en-US" dirty="0"/>
          </a:p>
          <a:p>
            <a:pPr marL="228600" lvl="1" indent="-228600" defTabSz="977900">
              <a:lnSpc>
                <a:spcPct val="90000"/>
              </a:lnSpc>
              <a:spcBef>
                <a:spcPct val="0"/>
              </a:spcBef>
              <a:spcAft>
                <a:spcPct val="20000"/>
              </a:spcAft>
              <a:buChar char="•"/>
            </a:pPr>
            <a:endParaRPr lang="en-US" dirty="0"/>
          </a:p>
          <a:p>
            <a:pPr marL="228600" lvl="1" indent="-228600" defTabSz="977900">
              <a:lnSpc>
                <a:spcPct val="90000"/>
              </a:lnSpc>
              <a:spcBef>
                <a:spcPct val="0"/>
              </a:spcBef>
              <a:spcAft>
                <a:spcPct val="20000"/>
              </a:spcAft>
              <a:buChar char="•"/>
            </a:pPr>
            <a:endParaRPr lang="nb-NO" sz="2200" kern="1200" dirty="0">
              <a:latin typeface="+mj-lt"/>
            </a:endParaRPr>
          </a:p>
        </p:txBody>
      </p:sp>
      <p:sp>
        <p:nvSpPr>
          <p:cNvPr id="2" name="Title 1"/>
          <p:cNvSpPr>
            <a:spLocks noGrp="1"/>
          </p:cNvSpPr>
          <p:nvPr>
            <p:ph type="title"/>
          </p:nvPr>
        </p:nvSpPr>
        <p:spPr>
          <a:xfrm>
            <a:off x="655638" y="320040"/>
            <a:ext cx="10880725" cy="461665"/>
          </a:xfrm>
        </p:spPr>
        <p:txBody>
          <a:bodyPr/>
          <a:lstStyle/>
          <a:p>
            <a:r>
              <a:rPr lang="en-US" dirty="0"/>
              <a:t>Recommendations - Site structure </a:t>
            </a:r>
          </a:p>
        </p:txBody>
      </p:sp>
      <p:sp>
        <p:nvSpPr>
          <p:cNvPr id="21" name="Picture Placeholder 20">
            <a:extLst>
              <a:ext uri="{FF2B5EF4-FFF2-40B4-BE49-F238E27FC236}">
                <a16:creationId xmlns:a16="http://schemas.microsoft.com/office/drawing/2014/main" id="{6A27A3AE-571D-4E87-8B82-2C0DFC018325}"/>
              </a:ext>
            </a:extLst>
          </p:cNvPr>
          <p:cNvSpPr>
            <a:spLocks noGrp="1"/>
          </p:cNvSpPr>
          <p:nvPr>
            <p:ph type="pic" sz="quarter" idx="22"/>
          </p:nvPr>
        </p:nvSpPr>
        <p:spPr>
          <a:xfrm>
            <a:off x="0" y="2381504"/>
            <a:ext cx="8656320" cy="4476496"/>
          </a:xfrm>
        </p:spPr>
      </p:sp>
      <p:sp>
        <p:nvSpPr>
          <p:cNvPr id="11" name="Text Placeholder 10">
            <a:extLst>
              <a:ext uri="{FF2B5EF4-FFF2-40B4-BE49-F238E27FC236}">
                <a16:creationId xmlns:a16="http://schemas.microsoft.com/office/drawing/2014/main" id="{24653466-1920-4F34-A538-65E56433D794}"/>
              </a:ext>
            </a:extLst>
          </p:cNvPr>
          <p:cNvSpPr>
            <a:spLocks noGrp="1"/>
          </p:cNvSpPr>
          <p:nvPr>
            <p:ph type="body" sz="quarter" idx="23"/>
          </p:nvPr>
        </p:nvSpPr>
        <p:spPr>
          <a:xfrm>
            <a:off x="9206288" y="1436688"/>
            <a:ext cx="2330075" cy="4832350"/>
          </a:xfrm>
        </p:spPr>
        <p:txBody>
          <a:bodyPr>
            <a:normAutofit/>
          </a:bodyPr>
          <a:lstStyle/>
          <a:p>
            <a:r>
              <a:rPr lang="en-US" dirty="0">
                <a:latin typeface="+mn-lt"/>
              </a:rPr>
              <a:t>With Hub sites, you can re-associate sites, your intranet can respond and adapt to changes in your organization.</a:t>
            </a:r>
          </a:p>
          <a:p>
            <a:endParaRPr lang="en-US" dirty="0">
              <a:latin typeface="+mn-lt"/>
            </a:endParaRPr>
          </a:p>
          <a:p>
            <a:r>
              <a:rPr lang="en-US" dirty="0">
                <a:latin typeface="+mn-lt"/>
              </a:rPr>
              <a:t>Create visually stunning and natively-mobile pages to share vision, news, information and resources.</a:t>
            </a:r>
          </a:p>
          <a:p>
            <a:endParaRPr lang="en-US" dirty="0">
              <a:latin typeface="+mn-lt"/>
            </a:endParaRPr>
          </a:p>
          <a:p>
            <a:endParaRPr lang="en-US" dirty="0">
              <a:latin typeface="+mn-lt"/>
            </a:endParaRPr>
          </a:p>
        </p:txBody>
      </p:sp>
      <p:sp>
        <p:nvSpPr>
          <p:cNvPr id="7" name="Subtitle 6">
            <a:extLst>
              <a:ext uri="{FF2B5EF4-FFF2-40B4-BE49-F238E27FC236}">
                <a16:creationId xmlns:a16="http://schemas.microsoft.com/office/drawing/2014/main" id="{803CF074-4C05-463D-AF98-ADA3A836F8BE}"/>
              </a:ext>
            </a:extLst>
          </p:cNvPr>
          <p:cNvSpPr>
            <a:spLocks noGrp="1"/>
          </p:cNvSpPr>
          <p:nvPr>
            <p:ph type="subTitle" idx="4294967295"/>
          </p:nvPr>
        </p:nvSpPr>
        <p:spPr>
          <a:xfrm>
            <a:off x="644461" y="792940"/>
            <a:ext cx="10880725" cy="461962"/>
          </a:xfrm>
        </p:spPr>
        <p:txBody>
          <a:bodyPr/>
          <a:lstStyle/>
          <a:p>
            <a:pPr marL="0" indent="0">
              <a:buNone/>
            </a:pPr>
            <a:r>
              <a:rPr lang="nb-NO" kern="1200" dirty="0">
                <a:latin typeface="+mj-lt"/>
              </a:rPr>
              <a:t>Home, Hub sites, Team Sites and Communication sites</a:t>
            </a:r>
          </a:p>
          <a:p>
            <a:endParaRPr lang="en-US" dirty="0"/>
          </a:p>
        </p:txBody>
      </p:sp>
      <p:grpSp>
        <p:nvGrpSpPr>
          <p:cNvPr id="22" name="Group 21">
            <a:extLst>
              <a:ext uri="{FF2B5EF4-FFF2-40B4-BE49-F238E27FC236}">
                <a16:creationId xmlns:a16="http://schemas.microsoft.com/office/drawing/2014/main" id="{E73DC165-0F89-4D87-AAA6-2E0988DDB21E}"/>
              </a:ext>
            </a:extLst>
          </p:cNvPr>
          <p:cNvGrpSpPr/>
          <p:nvPr/>
        </p:nvGrpSpPr>
        <p:grpSpPr>
          <a:xfrm>
            <a:off x="388429" y="1665371"/>
            <a:ext cx="8817859" cy="4871954"/>
            <a:chOff x="442801" y="1880408"/>
            <a:chExt cx="8817859" cy="4871954"/>
          </a:xfrm>
        </p:grpSpPr>
        <p:pic>
          <p:nvPicPr>
            <p:cNvPr id="3" name="Picture 2">
              <a:extLst>
                <a:ext uri="{FF2B5EF4-FFF2-40B4-BE49-F238E27FC236}">
                  <a16:creationId xmlns:a16="http://schemas.microsoft.com/office/drawing/2014/main" id="{C1400B47-5EFA-4F66-B076-29E44111B820}"/>
                </a:ext>
              </a:extLst>
            </p:cNvPr>
            <p:cNvPicPr>
              <a:picLocks noChangeAspect="1"/>
            </p:cNvPicPr>
            <p:nvPr/>
          </p:nvPicPr>
          <p:blipFill>
            <a:blip r:embed="rId3"/>
            <a:stretch>
              <a:fillRect/>
            </a:stretch>
          </p:blipFill>
          <p:spPr>
            <a:xfrm>
              <a:off x="442801" y="1880408"/>
              <a:ext cx="8817859" cy="4716844"/>
            </a:xfrm>
            <a:prstGeom prst="rect">
              <a:avLst/>
            </a:prstGeom>
          </p:spPr>
        </p:pic>
        <p:pic>
          <p:nvPicPr>
            <p:cNvPr id="12" name="Picture 2" descr="SharePoint look book communication site example">
              <a:extLst>
                <a:ext uri="{FF2B5EF4-FFF2-40B4-BE49-F238E27FC236}">
                  <a16:creationId xmlns:a16="http://schemas.microsoft.com/office/drawing/2014/main" id="{74091700-35EA-4EF3-BE86-BBF2B0D764D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1384" y="5196989"/>
              <a:ext cx="864096" cy="155537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SharePoint look book team site example">
              <a:extLst>
                <a:ext uri="{FF2B5EF4-FFF2-40B4-BE49-F238E27FC236}">
                  <a16:creationId xmlns:a16="http://schemas.microsoft.com/office/drawing/2014/main" id="{166D45B2-F897-43F7-9543-0BE41C81894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03912" y="5113571"/>
              <a:ext cx="970536" cy="155573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732110940"/>
      </p:ext>
    </p:extLst>
  </p:cSld>
  <p:clrMapOvr>
    <a:masterClrMapping/>
  </p:clrMapOvr>
</p:sld>
</file>

<file path=ppt/slides/slide11.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Recommendations - Site navigation</a:t>
            </a:r>
          </a:p>
        </p:txBody>
      </p:sp>
      <p:graphicFrame>
        <p:nvGraphicFramePr>
          <p:cNvPr id="8" name="Content Placeholder 7">
            <a:extLst>
              <a:ext uri="{FF2B5EF4-FFF2-40B4-BE49-F238E27FC236}">
                <a16:creationId xmlns:a16="http://schemas.microsoft.com/office/drawing/2014/main" id="{3026120B-F8AA-4A0E-812D-96B0171B6F7D}"/>
              </a:ext>
            </a:extLst>
          </p:cNvPr>
          <p:cNvGraphicFramePr>
            <a:graphicFrameLocks noGrp="1"/>
          </p:cNvGraphicFramePr>
          <p:nvPr>
            <p:ph sz="quarter" idx="13"/>
            <p:extLst>
              <p:ext uri="{D42A27DB-BD31-4B8C-83A1-F6EECF244321}">
                <p14:modId xmlns:p14="http://schemas.microsoft.com/office/powerpoint/2010/main" val="1568733225"/>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30491313"/>
      </p:ext>
    </p:extLst>
  </p:cSld>
  <p:clrMapOvr>
    <a:masterClrMapping/>
  </p:clrMapOvr>
</p:sld>
</file>

<file path=ppt/slides/slide12.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9F7BAF3-F3BB-47B6-9764-F435FA1F99CC}"/>
              </a:ext>
            </a:extLst>
          </p:cNvPr>
          <p:cNvSpPr>
            <a:spLocks noGrp="1"/>
          </p:cNvSpPr>
          <p:nvPr>
            <p:ph type="title"/>
          </p:nvPr>
        </p:nvSpPr>
        <p:spPr>
          <a:xfrm>
            <a:off x="655638" y="320040"/>
            <a:ext cx="10880725" cy="461665"/>
          </a:xfrm>
        </p:spPr>
        <p:txBody>
          <a:bodyPr wrap="square" anchor="t">
            <a:normAutofit/>
          </a:bodyPr>
          <a:lstStyle/>
          <a:p>
            <a:r>
              <a:rPr lang="en-US" dirty="0"/>
              <a:t>Page Optimization Rules 101</a:t>
            </a:r>
          </a:p>
        </p:txBody>
      </p:sp>
      <p:graphicFrame>
        <p:nvGraphicFramePr>
          <p:cNvPr id="17" name="Content Placeholder 16">
            <a:extLst>
              <a:ext uri="{FF2B5EF4-FFF2-40B4-BE49-F238E27FC236}">
                <a16:creationId xmlns:a16="http://schemas.microsoft.com/office/drawing/2014/main" id="{2E8024A4-291A-4106-AFBE-C4DD81A77C28}"/>
              </a:ext>
            </a:extLst>
          </p:cNvPr>
          <p:cNvGraphicFramePr>
            <a:graphicFrameLocks noGrp="1"/>
          </p:cNvGraphicFramePr>
          <p:nvPr>
            <p:ph sz="quarter" idx="13"/>
            <p:extLst>
              <p:ext uri="{D42A27DB-BD31-4B8C-83A1-F6EECF244321}">
                <p14:modId xmlns:p14="http://schemas.microsoft.com/office/powerpoint/2010/main" val="896830415"/>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44875399"/>
      </p:ext>
    </p:extLst>
  </p:cSld>
  <p:clrMapOvr>
    <a:masterClrMapping/>
  </p:clrMapOvr>
</p:sld>
</file>

<file path=ppt/slides/slide13.xml><?xml version="1.0" encoding="utf-8"?>
<p:sld xmlns:a16="http://schemas.microsoft.com/office/drawing/2014/main" xmlns:dgm="http://schemas.openxmlformats.org/drawingml/2006/diagram"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15AA34E-E84D-4FB6-8E92-BF64D04542DF}"/>
              </a:ext>
            </a:extLst>
          </p:cNvPr>
          <p:cNvSpPr>
            <a:spLocks noGrp="1"/>
          </p:cNvSpPr>
          <p:nvPr>
            <p:ph type="title"/>
          </p:nvPr>
        </p:nvSpPr>
        <p:spPr>
          <a:xfrm>
            <a:off x="655638" y="320040"/>
            <a:ext cx="10880725" cy="461665"/>
          </a:xfrm>
        </p:spPr>
        <p:txBody>
          <a:bodyPr/>
          <a:lstStyle/>
          <a:p>
            <a:r>
              <a:rPr lang="en-US" dirty="0"/>
              <a:t>Page Optimization Rules 101</a:t>
            </a:r>
          </a:p>
        </p:txBody>
      </p:sp>
      <p:graphicFrame>
        <p:nvGraphicFramePr>
          <p:cNvPr id="14" name="Content Placeholder 11">
            <a:extLst>
              <a:ext uri="{FF2B5EF4-FFF2-40B4-BE49-F238E27FC236}">
                <a16:creationId xmlns:a16="http://schemas.microsoft.com/office/drawing/2014/main" id="{30B5A9AA-E00A-80CB-DEA2-D0B40F431171}"/>
              </a:ext>
            </a:extLst>
          </p:cNvPr>
          <p:cNvGraphicFramePr/>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51226020"/>
      </p:ext>
    </p:extLst>
  </p:cSld>
  <p:clrMapOvr>
    <a:masterClrMapping/>
  </p:clrMapOvr>
</p:sld>
</file>

<file path=ppt/slides/slide14.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DE84266-0EB5-4A8D-82B9-A90C47129EBC}"/>
              </a:ext>
            </a:extLst>
          </p:cNvPr>
          <p:cNvSpPr>
            <a:spLocks noGrp="1"/>
          </p:cNvSpPr>
          <p:nvPr>
            <p:ph type="title"/>
          </p:nvPr>
        </p:nvSpPr>
        <p:spPr>
          <a:xfrm>
            <a:off x="655638" y="320040"/>
            <a:ext cx="10880725" cy="461665"/>
          </a:xfrm>
        </p:spPr>
        <p:txBody>
          <a:bodyPr/>
          <a:lstStyle/>
          <a:p>
            <a:r>
              <a:rPr lang="en-US" dirty="0"/>
              <a:t>Page Optimization Rules 101</a:t>
            </a:r>
          </a:p>
        </p:txBody>
      </p:sp>
      <p:graphicFrame>
        <p:nvGraphicFramePr>
          <p:cNvPr id="9" name="Content Placeholder 8">
            <a:extLst>
              <a:ext uri="{FF2B5EF4-FFF2-40B4-BE49-F238E27FC236}">
                <a16:creationId xmlns:a16="http://schemas.microsoft.com/office/drawing/2014/main" id="{AC8F55BC-6F79-445E-B1B2-C6F8203E7290}"/>
              </a:ext>
            </a:extLst>
          </p:cNvPr>
          <p:cNvGraphicFramePr>
            <a:graphicFrameLocks noGrp="1"/>
          </p:cNvGraphicFramePr>
          <p:nvPr>
            <p:ph sz="quarter" idx="13"/>
            <p:extLst>
              <p:ext uri="{D42A27DB-BD31-4B8C-83A1-F6EECF244321}">
                <p14:modId xmlns:p14="http://schemas.microsoft.com/office/powerpoint/2010/main" val="2922807867"/>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71789511"/>
      </p:ext>
    </p:extLst>
  </p:cSld>
  <p:clrMapOvr>
    <a:masterClrMapping/>
  </p:clrMapOvr>
</p:sld>
</file>

<file path=ppt/slides/slide15.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2979777"/>
            <a:ext cx="9015411" cy="604798"/>
          </a:xfrm>
        </p:spPr>
        <p:txBody>
          <a:bodyPr/>
          <a:lstStyle/>
          <a:p>
            <a:r>
              <a:rPr lang="en-US" dirty="0"/>
              <a:t>Network Optimization</a:t>
            </a:r>
            <a:endParaRPr lang="nb-NO" dirty="0"/>
          </a:p>
        </p:txBody>
      </p:sp>
    </p:spTree>
    <p:extLst>
      <p:ext uri="{BB962C8B-B14F-4D97-AF65-F5344CB8AC3E}">
        <p14:creationId xmlns:p14="http://schemas.microsoft.com/office/powerpoint/2010/main" val="1244507419"/>
      </p:ext>
    </p:extLst>
  </p:cSld>
  <p:clrMapOvr>
    <a:masterClrMapping/>
  </p:clrMapOvr>
</p:sld>
</file>

<file path=ppt/slides/slide16.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485140C1-A197-4BD5-8241-EDCB45792CCD}"/>
              </a:ext>
            </a:extLst>
          </p:cNvPr>
          <p:cNvSpPr/>
          <p:nvPr/>
        </p:nvSpPr>
        <p:spPr>
          <a:xfrm>
            <a:off x="269239" y="1888178"/>
            <a:ext cx="11653522" cy="4781183"/>
          </a:xfrm>
          <a:custGeom>
            <a:avLst/>
            <a:gdLst>
              <a:gd name="connsiteX0" fmla="*/ 0 w 11653522"/>
              <a:gd name="connsiteY0" fmla="*/ 0 h 1651860"/>
              <a:gd name="connsiteX1" fmla="*/ 11653522 w 11653522"/>
              <a:gd name="connsiteY1" fmla="*/ 0 h 1651860"/>
              <a:gd name="connsiteX2" fmla="*/ 11653522 w 11653522"/>
              <a:gd name="connsiteY2" fmla="*/ 1651860 h 1651860"/>
              <a:gd name="connsiteX3" fmla="*/ 0 w 11653522"/>
              <a:gd name="connsiteY3" fmla="*/ 1651860 h 1651860"/>
              <a:gd name="connsiteX4" fmla="*/ 0 w 11653522"/>
              <a:gd name="connsiteY4" fmla="*/ 0 h 1651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3522" h="1651860">
                <a:moveTo>
                  <a:pt x="0" y="0"/>
                </a:moveTo>
                <a:lnTo>
                  <a:pt x="11653522" y="0"/>
                </a:lnTo>
                <a:lnTo>
                  <a:pt x="11653522" y="1651860"/>
                </a:lnTo>
                <a:lnTo>
                  <a:pt x="0" y="165186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9999" tIns="35560" rIns="199136" bIns="35560" numCol="1" spcCol="1270" anchor="t" anchorCtr="0">
            <a:noAutofit/>
          </a:bodyPr>
          <a:lstStyle/>
          <a:p>
            <a:pPr marL="609585" lvl="2" defTabSz="977900">
              <a:lnSpc>
                <a:spcPct val="90000"/>
              </a:lnSpc>
              <a:spcBef>
                <a:spcPct val="0"/>
              </a:spcBef>
              <a:spcAft>
                <a:spcPct val="20000"/>
              </a:spcAft>
            </a:pPr>
            <a:endParaRPr lang="en-US" sz="1800" dirty="0"/>
          </a:p>
        </p:txBody>
      </p:sp>
      <p:sp>
        <p:nvSpPr>
          <p:cNvPr id="2" name="Title 1"/>
          <p:cNvSpPr>
            <a:spLocks noGrp="1"/>
          </p:cNvSpPr>
          <p:nvPr>
            <p:ph type="title"/>
          </p:nvPr>
        </p:nvSpPr>
        <p:spPr>
          <a:xfrm>
            <a:off x="655638" y="320040"/>
            <a:ext cx="10880725" cy="461665"/>
          </a:xfrm>
        </p:spPr>
        <p:txBody>
          <a:bodyPr/>
          <a:lstStyle/>
          <a:p>
            <a:r>
              <a:rPr lang="en-US"/>
              <a:t>Traditional connectivity</a:t>
            </a:r>
            <a:endParaRPr lang="en-US" dirty="0"/>
          </a:p>
        </p:txBody>
      </p:sp>
      <p:pic>
        <p:nvPicPr>
          <p:cNvPr id="3" name="Picture 2">
            <a:extLst>
              <a:ext uri="{FF2B5EF4-FFF2-40B4-BE49-F238E27FC236}">
                <a16:creationId xmlns:a16="http://schemas.microsoft.com/office/drawing/2014/main" id="{7C66E61C-F34B-4497-941A-E9D9DDD72478}"/>
              </a:ext>
            </a:extLst>
          </p:cNvPr>
          <p:cNvPicPr>
            <a:picLocks noChangeAspect="1"/>
          </p:cNvPicPr>
          <p:nvPr/>
        </p:nvPicPr>
        <p:blipFill>
          <a:blip r:embed="rId3"/>
          <a:stretch>
            <a:fillRect/>
          </a:stretch>
        </p:blipFill>
        <p:spPr>
          <a:xfrm>
            <a:off x="1131140" y="1832536"/>
            <a:ext cx="9929720" cy="4892464"/>
          </a:xfrm>
          <a:prstGeom prst="rect">
            <a:avLst/>
          </a:prstGeom>
        </p:spPr>
      </p:pic>
      <p:graphicFrame>
        <p:nvGraphicFramePr>
          <p:cNvPr id="15" name="Diagram 14">
            <a:extLst>
              <a:ext uri="{FF2B5EF4-FFF2-40B4-BE49-F238E27FC236}">
                <a16:creationId xmlns:a16="http://schemas.microsoft.com/office/drawing/2014/main" id="{A060FFE5-458D-420F-80C4-5D5B92D853FF}"/>
              </a:ext>
            </a:extLst>
          </p:cNvPr>
          <p:cNvGraphicFramePr/>
          <p:nvPr>
            <p:extLst>
              <p:ext uri="{D42A27DB-BD31-4B8C-83A1-F6EECF244321}">
                <p14:modId xmlns:p14="http://schemas.microsoft.com/office/powerpoint/2010/main" val="324370936"/>
              </p:ext>
            </p:extLst>
          </p:nvPr>
        </p:nvGraphicFramePr>
        <p:xfrm>
          <a:off x="1131140" y="937028"/>
          <a:ext cx="9929720" cy="61555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997838891"/>
      </p:ext>
    </p:extLst>
  </p:cSld>
  <p:clrMapOvr>
    <a:masterClrMapping/>
  </p:clrMapOvr>
</p:sld>
</file>

<file path=ppt/slides/slide17.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485140C1-A197-4BD5-8241-EDCB45792CCD}"/>
              </a:ext>
            </a:extLst>
          </p:cNvPr>
          <p:cNvSpPr/>
          <p:nvPr/>
        </p:nvSpPr>
        <p:spPr>
          <a:xfrm>
            <a:off x="271558" y="1787306"/>
            <a:ext cx="11653522" cy="4781183"/>
          </a:xfrm>
          <a:custGeom>
            <a:avLst/>
            <a:gdLst>
              <a:gd name="connsiteX0" fmla="*/ 0 w 11653522"/>
              <a:gd name="connsiteY0" fmla="*/ 0 h 1651860"/>
              <a:gd name="connsiteX1" fmla="*/ 11653522 w 11653522"/>
              <a:gd name="connsiteY1" fmla="*/ 0 h 1651860"/>
              <a:gd name="connsiteX2" fmla="*/ 11653522 w 11653522"/>
              <a:gd name="connsiteY2" fmla="*/ 1651860 h 1651860"/>
              <a:gd name="connsiteX3" fmla="*/ 0 w 11653522"/>
              <a:gd name="connsiteY3" fmla="*/ 1651860 h 1651860"/>
              <a:gd name="connsiteX4" fmla="*/ 0 w 11653522"/>
              <a:gd name="connsiteY4" fmla="*/ 0 h 1651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3522" h="1651860">
                <a:moveTo>
                  <a:pt x="0" y="0"/>
                </a:moveTo>
                <a:lnTo>
                  <a:pt x="11653522" y="0"/>
                </a:lnTo>
                <a:lnTo>
                  <a:pt x="11653522" y="1651860"/>
                </a:lnTo>
                <a:lnTo>
                  <a:pt x="0" y="165186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9999" tIns="35560" rIns="199136" bIns="35560" numCol="1" spcCol="1270" anchor="t" anchorCtr="0">
            <a:noAutofit/>
          </a:bodyPr>
          <a:lstStyle/>
          <a:p>
            <a:pPr marL="609585" lvl="2" defTabSz="977900">
              <a:lnSpc>
                <a:spcPct val="90000"/>
              </a:lnSpc>
              <a:spcBef>
                <a:spcPct val="0"/>
              </a:spcBef>
              <a:spcAft>
                <a:spcPct val="20000"/>
              </a:spcAft>
            </a:pPr>
            <a:endParaRPr lang="en-US" sz="1800" dirty="0"/>
          </a:p>
        </p:txBody>
      </p:sp>
      <p:sp>
        <p:nvSpPr>
          <p:cNvPr id="2" name="Title 1"/>
          <p:cNvSpPr>
            <a:spLocks noGrp="1"/>
          </p:cNvSpPr>
          <p:nvPr>
            <p:ph type="title"/>
          </p:nvPr>
        </p:nvSpPr>
        <p:spPr>
          <a:xfrm>
            <a:off x="655638" y="320040"/>
            <a:ext cx="10880725" cy="461665"/>
          </a:xfrm>
        </p:spPr>
        <p:txBody>
          <a:bodyPr/>
          <a:lstStyle/>
          <a:p>
            <a:r>
              <a:rPr lang="en-US"/>
              <a:t>Bringing SharePoint Online to users</a:t>
            </a:r>
            <a:endParaRPr lang="en-US" dirty="0"/>
          </a:p>
        </p:txBody>
      </p:sp>
      <p:pic>
        <p:nvPicPr>
          <p:cNvPr id="9" name="Picture 8">
            <a:extLst>
              <a:ext uri="{FF2B5EF4-FFF2-40B4-BE49-F238E27FC236}">
                <a16:creationId xmlns:a16="http://schemas.microsoft.com/office/drawing/2014/main" id="{00CF2B4F-4205-4AB6-94BD-0BB8F7ED35AA}"/>
              </a:ext>
            </a:extLst>
          </p:cNvPr>
          <p:cNvPicPr>
            <a:picLocks noChangeAspect="1"/>
          </p:cNvPicPr>
          <p:nvPr/>
        </p:nvPicPr>
        <p:blipFill>
          <a:blip r:embed="rId3"/>
          <a:stretch>
            <a:fillRect/>
          </a:stretch>
        </p:blipFill>
        <p:spPr>
          <a:xfrm>
            <a:off x="1631504" y="2017026"/>
            <a:ext cx="8372972" cy="4442464"/>
          </a:xfrm>
          <a:prstGeom prst="rect">
            <a:avLst/>
          </a:prstGeom>
        </p:spPr>
      </p:pic>
      <p:graphicFrame>
        <p:nvGraphicFramePr>
          <p:cNvPr id="10" name="Diagram 9">
            <a:extLst>
              <a:ext uri="{FF2B5EF4-FFF2-40B4-BE49-F238E27FC236}">
                <a16:creationId xmlns:a16="http://schemas.microsoft.com/office/drawing/2014/main" id="{A9E6B333-8D2A-409B-B943-A008277C261A}"/>
              </a:ext>
            </a:extLst>
          </p:cNvPr>
          <p:cNvGraphicFramePr/>
          <p:nvPr>
            <p:extLst>
              <p:ext uri="{D42A27DB-BD31-4B8C-83A1-F6EECF244321}">
                <p14:modId xmlns:p14="http://schemas.microsoft.com/office/powerpoint/2010/main" val="449901557"/>
              </p:ext>
            </p:extLst>
          </p:nvPr>
        </p:nvGraphicFramePr>
        <p:xfrm>
          <a:off x="1631504" y="1010770"/>
          <a:ext cx="8372972" cy="83099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57666770"/>
      </p:ext>
    </p:extLst>
  </p:cSld>
  <p:clrMapOvr>
    <a:masterClrMapping/>
  </p:clrMapOvr>
</p:sld>
</file>

<file path=ppt/slides/slide18.xml><?xml version="1.0" encoding="utf-8"?>
<p:sld xmlns:a16="http://schemas.microsoft.com/office/drawing/2014/main" xmlns:ahyp="http://schemas.microsoft.com/office/drawing/2018/hyperlinkcolor"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485140C1-A197-4BD5-8241-EDCB45792CCD}"/>
              </a:ext>
            </a:extLst>
          </p:cNvPr>
          <p:cNvSpPr/>
          <p:nvPr/>
        </p:nvSpPr>
        <p:spPr>
          <a:xfrm>
            <a:off x="271558" y="1787306"/>
            <a:ext cx="11653522" cy="4781183"/>
          </a:xfrm>
          <a:custGeom>
            <a:avLst/>
            <a:gdLst>
              <a:gd name="connsiteX0" fmla="*/ 0 w 11653522"/>
              <a:gd name="connsiteY0" fmla="*/ 0 h 1651860"/>
              <a:gd name="connsiteX1" fmla="*/ 11653522 w 11653522"/>
              <a:gd name="connsiteY1" fmla="*/ 0 h 1651860"/>
              <a:gd name="connsiteX2" fmla="*/ 11653522 w 11653522"/>
              <a:gd name="connsiteY2" fmla="*/ 1651860 h 1651860"/>
              <a:gd name="connsiteX3" fmla="*/ 0 w 11653522"/>
              <a:gd name="connsiteY3" fmla="*/ 1651860 h 1651860"/>
              <a:gd name="connsiteX4" fmla="*/ 0 w 11653522"/>
              <a:gd name="connsiteY4" fmla="*/ 0 h 1651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3522" h="1651860">
                <a:moveTo>
                  <a:pt x="0" y="0"/>
                </a:moveTo>
                <a:lnTo>
                  <a:pt x="11653522" y="0"/>
                </a:lnTo>
                <a:lnTo>
                  <a:pt x="11653522" y="1651860"/>
                </a:lnTo>
                <a:lnTo>
                  <a:pt x="0" y="165186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9999" tIns="35560" rIns="199136" bIns="35560" numCol="1" spcCol="1270" anchor="t" anchorCtr="0">
            <a:noAutofit/>
          </a:bodyPr>
          <a:lstStyle/>
          <a:p>
            <a:pPr marL="609585" lvl="2" defTabSz="977900">
              <a:lnSpc>
                <a:spcPct val="90000"/>
              </a:lnSpc>
              <a:spcBef>
                <a:spcPct val="0"/>
              </a:spcBef>
              <a:spcAft>
                <a:spcPct val="20000"/>
              </a:spcAft>
            </a:pPr>
            <a:endParaRPr lang="en-US" sz="1800" dirty="0"/>
          </a:p>
        </p:txBody>
      </p:sp>
      <p:sp>
        <p:nvSpPr>
          <p:cNvPr id="2" name="Title 1"/>
          <p:cNvSpPr>
            <a:spLocks noGrp="1"/>
          </p:cNvSpPr>
          <p:nvPr>
            <p:ph type="title"/>
          </p:nvPr>
        </p:nvSpPr>
        <p:spPr>
          <a:xfrm>
            <a:off x="655638" y="320040"/>
            <a:ext cx="10880725" cy="461665"/>
          </a:xfrm>
        </p:spPr>
        <p:txBody>
          <a:bodyPr/>
          <a:lstStyle/>
          <a:p>
            <a:r>
              <a:rPr lang="en-US" dirty="0"/>
              <a:t>Direct Egress to Microsoft</a:t>
            </a:r>
          </a:p>
        </p:txBody>
      </p:sp>
      <p:pic>
        <p:nvPicPr>
          <p:cNvPr id="3" name="Picture 2">
            <a:extLst>
              <a:ext uri="{FF2B5EF4-FFF2-40B4-BE49-F238E27FC236}">
                <a16:creationId xmlns:a16="http://schemas.microsoft.com/office/drawing/2014/main" id="{23E715A3-C959-4401-BB1C-2847BCE62056}"/>
              </a:ext>
            </a:extLst>
          </p:cNvPr>
          <p:cNvPicPr>
            <a:picLocks noChangeAspect="1"/>
          </p:cNvPicPr>
          <p:nvPr/>
        </p:nvPicPr>
        <p:blipFill>
          <a:blip r:embed="rId3"/>
          <a:stretch>
            <a:fillRect/>
          </a:stretch>
        </p:blipFill>
        <p:spPr>
          <a:xfrm>
            <a:off x="949058" y="1853318"/>
            <a:ext cx="6515094" cy="4845132"/>
          </a:xfrm>
          <a:prstGeom prst="rect">
            <a:avLst/>
          </a:prstGeom>
        </p:spPr>
      </p:pic>
      <p:sp>
        <p:nvSpPr>
          <p:cNvPr id="8" name="Text Placeholder 8">
            <a:extLst>
              <a:ext uri="{FF2B5EF4-FFF2-40B4-BE49-F238E27FC236}">
                <a16:creationId xmlns:a16="http://schemas.microsoft.com/office/drawing/2014/main" id="{8CB76DC0-9E28-4949-B145-8192EEE357B0}"/>
              </a:ext>
            </a:extLst>
          </p:cNvPr>
          <p:cNvSpPr txBox="1">
            <a:spLocks/>
          </p:cNvSpPr>
          <p:nvPr/>
        </p:nvSpPr>
        <p:spPr>
          <a:xfrm>
            <a:off x="8040216" y="2146604"/>
            <a:ext cx="3740819" cy="4219232"/>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490"/>
              </a:spcBef>
              <a:spcAft>
                <a:spcPts val="1469"/>
              </a:spcAft>
              <a:buSzTx/>
              <a:defRPr/>
            </a:pPr>
            <a:r>
              <a:rPr lang="en-US" sz="2353" dirty="0">
                <a:solidFill>
                  <a:schemeClr val="bg1"/>
                </a:solidFill>
              </a:rPr>
              <a:t>Network devices identify Microsoft 365 traffic</a:t>
            </a:r>
          </a:p>
          <a:p>
            <a:pPr>
              <a:spcBef>
                <a:spcPts val="490"/>
              </a:spcBef>
              <a:spcAft>
                <a:spcPts val="1469"/>
              </a:spcAft>
              <a:buSzTx/>
              <a:defRPr/>
            </a:pPr>
            <a:r>
              <a:rPr lang="en-US" sz="2353" dirty="0">
                <a:solidFill>
                  <a:schemeClr val="bg1"/>
                </a:solidFill>
              </a:rPr>
              <a:t>Local egress to Microsoft Network at every location</a:t>
            </a:r>
          </a:p>
          <a:p>
            <a:pPr>
              <a:spcBef>
                <a:spcPts val="490"/>
              </a:spcBef>
              <a:spcAft>
                <a:spcPts val="1469"/>
              </a:spcAft>
              <a:buSzTx/>
              <a:defRPr/>
            </a:pPr>
            <a:r>
              <a:rPr lang="en-US" sz="2353" dirty="0">
                <a:solidFill>
                  <a:schemeClr val="bg1"/>
                </a:solidFill>
              </a:rPr>
              <a:t>Bypass network security stack with trusted SaaS traffic</a:t>
            </a:r>
          </a:p>
          <a:p>
            <a:pPr marL="336080" indent="-336080">
              <a:spcBef>
                <a:spcPts val="490"/>
              </a:spcBef>
              <a:spcAft>
                <a:spcPts val="1469"/>
              </a:spcAft>
              <a:buSzTx/>
              <a:defRPr/>
            </a:pPr>
            <a:r>
              <a:rPr lang="en-US" sz="2400" dirty="0">
                <a:solidFill>
                  <a:schemeClr val="bg1"/>
                </a:solidFill>
                <a:hlinkClick r:id="rId4">
                  <a:extLst>
                    <a:ext uri="{A12FA001-AC4F-418D-AE19-62706E023703}">
                      <ahyp:hlinkClr xmlns:ahyp="http://schemas.microsoft.com/office/drawing/2018/hyperlinkcolor" val="tx"/>
                    </a:ext>
                  </a:extLst>
                </a:hlinkClick>
              </a:rPr>
              <a:t>https://aka.ms/pnc</a:t>
            </a:r>
            <a:endParaRPr lang="en-US" sz="2353" dirty="0">
              <a:solidFill>
                <a:schemeClr val="bg1"/>
              </a:solidFill>
            </a:endParaRPr>
          </a:p>
        </p:txBody>
      </p:sp>
      <p:graphicFrame>
        <p:nvGraphicFramePr>
          <p:cNvPr id="11" name="Diagram 10">
            <a:extLst>
              <a:ext uri="{FF2B5EF4-FFF2-40B4-BE49-F238E27FC236}">
                <a16:creationId xmlns:a16="http://schemas.microsoft.com/office/drawing/2014/main" id="{C5669DF1-EF71-4A00-8845-F279E7DD133C}"/>
              </a:ext>
            </a:extLst>
          </p:cNvPr>
          <p:cNvGraphicFramePr/>
          <p:nvPr>
            <p:extLst>
              <p:ext uri="{D42A27DB-BD31-4B8C-83A1-F6EECF244321}">
                <p14:modId xmlns:p14="http://schemas.microsoft.com/office/powerpoint/2010/main" val="1059722972"/>
              </p:ext>
            </p:extLst>
          </p:nvPr>
        </p:nvGraphicFramePr>
        <p:xfrm>
          <a:off x="949058" y="1031338"/>
          <a:ext cx="6515094" cy="59093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941231258"/>
      </p:ext>
    </p:extLst>
  </p:cSld>
  <p:clrMapOvr>
    <a:masterClrMapping/>
  </p:clrMapOvr>
</p:sld>
</file>

<file path=ppt/slides/slide19.xml><?xml version="1.0" encoding="utf-8"?>
<p:sld xmlns:a16="http://schemas.microsoft.com/office/drawing/2014/main" xmlns:ahyp="http://schemas.microsoft.com/office/drawing/2018/hyperlinkcolor" xmlns:a14="http://schemas.microsoft.com/office/drawing/2010/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B3965ED-F077-4879-BA02-27A1D46397CE}"/>
              </a:ext>
            </a:extLst>
          </p:cNvPr>
          <p:cNvSpPr>
            <a:spLocks noGrp="1"/>
          </p:cNvSpPr>
          <p:nvPr>
            <p:ph type="body" sz="quarter" idx="4294967295"/>
          </p:nvPr>
        </p:nvSpPr>
        <p:spPr>
          <a:xfrm>
            <a:off x="8451850" y="1609725"/>
            <a:ext cx="3740150" cy="2754313"/>
          </a:xfrm>
        </p:spPr>
        <p:txBody>
          <a:bodyPr>
            <a:normAutofit fontScale="85000" lnSpcReduction="10000"/>
          </a:bodyPr>
          <a:lstStyle/>
          <a:p>
            <a:pPr>
              <a:spcBef>
                <a:spcPts val="490"/>
              </a:spcBef>
              <a:spcAft>
                <a:spcPts val="1469"/>
              </a:spcAft>
              <a:buSzTx/>
              <a:defRPr/>
            </a:pPr>
            <a:r>
              <a:rPr lang="en-US" sz="2353" dirty="0">
                <a:solidFill>
                  <a:schemeClr val="bg1"/>
                </a:solidFill>
              </a:rPr>
              <a:t>Network devices identify Microsoft 365 traffic</a:t>
            </a:r>
          </a:p>
          <a:p>
            <a:pPr>
              <a:spcBef>
                <a:spcPts val="490"/>
              </a:spcBef>
              <a:spcAft>
                <a:spcPts val="1469"/>
              </a:spcAft>
              <a:buSzTx/>
              <a:defRPr/>
            </a:pPr>
            <a:r>
              <a:rPr lang="en-US" sz="2353" dirty="0">
                <a:solidFill>
                  <a:schemeClr val="bg1"/>
                </a:solidFill>
              </a:rPr>
              <a:t>Local egress to Microsoft Network at every location</a:t>
            </a:r>
          </a:p>
          <a:p>
            <a:pPr>
              <a:spcBef>
                <a:spcPts val="490"/>
              </a:spcBef>
              <a:spcAft>
                <a:spcPts val="1469"/>
              </a:spcAft>
              <a:buSzTx/>
              <a:defRPr/>
            </a:pPr>
            <a:r>
              <a:rPr lang="en-US" sz="2353" dirty="0">
                <a:solidFill>
                  <a:schemeClr val="bg1"/>
                </a:solidFill>
              </a:rPr>
              <a:t>Bypass network security stack with trusted SaaS traffic</a:t>
            </a:r>
          </a:p>
          <a:p>
            <a:pPr>
              <a:spcBef>
                <a:spcPts val="490"/>
              </a:spcBef>
              <a:spcAft>
                <a:spcPts val="1469"/>
              </a:spcAft>
              <a:buSzTx/>
              <a:defRPr/>
            </a:pPr>
            <a:r>
              <a:rPr lang="en-US" sz="2400" dirty="0">
                <a:solidFill>
                  <a:schemeClr val="bg1"/>
                </a:solidFill>
                <a:hlinkClick r:id="rId3">
                  <a:extLst>
                    <a:ext uri="{A12FA001-AC4F-418D-AE19-62706E023703}">
                      <ahyp:hlinkClr xmlns:ahyp="http://schemas.microsoft.com/office/drawing/2018/hyperlinkcolor" val="tx"/>
                    </a:ext>
                  </a:extLst>
                </a:hlinkClick>
              </a:rPr>
              <a:t>https://aka.ms/pnc</a:t>
            </a:r>
            <a:endParaRPr lang="en-US" sz="2353" dirty="0">
              <a:solidFill>
                <a:schemeClr val="bg1"/>
              </a:solidFill>
            </a:endParaRPr>
          </a:p>
        </p:txBody>
      </p:sp>
      <p:grpSp>
        <p:nvGrpSpPr>
          <p:cNvPr id="4" name="Group 3">
            <a:extLst>
              <a:ext uri="{FF2B5EF4-FFF2-40B4-BE49-F238E27FC236}">
                <a16:creationId xmlns:a16="http://schemas.microsoft.com/office/drawing/2014/main" id="{8135C2A0-9896-4DB8-A734-80529132A97B}"/>
              </a:ext>
            </a:extLst>
          </p:cNvPr>
          <p:cNvGrpSpPr/>
          <p:nvPr/>
        </p:nvGrpSpPr>
        <p:grpSpPr>
          <a:xfrm>
            <a:off x="2194504" y="2922925"/>
            <a:ext cx="1397788" cy="1462601"/>
            <a:chOff x="2237942" y="2980966"/>
            <a:chExt cx="1426020" cy="1492140"/>
          </a:xfrm>
        </p:grpSpPr>
        <p:pic>
          <p:nvPicPr>
            <p:cNvPr id="32" name="Picture 31">
              <a:extLst>
                <a:ext uri="{FF2B5EF4-FFF2-40B4-BE49-F238E27FC236}">
                  <a16:creationId xmlns:a16="http://schemas.microsoft.com/office/drawing/2014/main" id="{7227216F-57CF-44D4-823C-30CF8F6A93E7}"/>
                </a:ext>
              </a:extLst>
            </p:cNvPr>
            <p:cNvPicPr>
              <a:picLocks noChangeAspect="1"/>
            </p:cNvPicPr>
            <p:nvPr/>
          </p:nvPicPr>
          <p:blipFill>
            <a:blip r:embed="rId4"/>
            <a:stretch>
              <a:fillRect/>
            </a:stretch>
          </p:blipFill>
          <p:spPr>
            <a:xfrm>
              <a:off x="2518891" y="3157044"/>
              <a:ext cx="932336" cy="940343"/>
            </a:xfrm>
            <a:prstGeom prst="rect">
              <a:avLst/>
            </a:prstGeom>
          </p:spPr>
        </p:pic>
        <p:grpSp>
          <p:nvGrpSpPr>
            <p:cNvPr id="33" name="Group 32">
              <a:extLst>
                <a:ext uri="{FF2B5EF4-FFF2-40B4-BE49-F238E27FC236}">
                  <a16:creationId xmlns:a16="http://schemas.microsoft.com/office/drawing/2014/main" id="{E7D55BA7-FA11-4CE5-A915-7A48B6C9A180}"/>
                </a:ext>
              </a:extLst>
            </p:cNvPr>
            <p:cNvGrpSpPr/>
            <p:nvPr/>
          </p:nvGrpSpPr>
          <p:grpSpPr>
            <a:xfrm>
              <a:off x="3066910" y="2980966"/>
              <a:ext cx="537335" cy="544797"/>
              <a:chOff x="3662363" y="1230946"/>
              <a:chExt cx="1057276" cy="1068388"/>
            </a:xfrm>
          </p:grpSpPr>
          <p:grpSp>
            <p:nvGrpSpPr>
              <p:cNvPr id="34" name="Group 4">
                <a:extLst>
                  <a:ext uri="{FF2B5EF4-FFF2-40B4-BE49-F238E27FC236}">
                    <a16:creationId xmlns:a16="http://schemas.microsoft.com/office/drawing/2014/main" id="{450771E2-B452-446E-975B-605A7D56EAAF}"/>
                  </a:ext>
                </a:extLst>
              </p:cNvPr>
              <p:cNvGrpSpPr>
                <a:grpSpLocks noChangeAspect="1"/>
              </p:cNvGrpSpPr>
              <p:nvPr/>
            </p:nvGrpSpPr>
            <p:grpSpPr bwMode="auto">
              <a:xfrm>
                <a:off x="3662363" y="1230946"/>
                <a:ext cx="1057276" cy="1068388"/>
                <a:chOff x="2341" y="775"/>
                <a:chExt cx="666" cy="673"/>
              </a:xfrm>
            </p:grpSpPr>
            <p:sp>
              <p:nvSpPr>
                <p:cNvPr id="36" name="AutoShape 3">
                  <a:extLst>
                    <a:ext uri="{FF2B5EF4-FFF2-40B4-BE49-F238E27FC236}">
                      <a16:creationId xmlns:a16="http://schemas.microsoft.com/office/drawing/2014/main" id="{AC525F4E-1E75-493C-8405-78DD7D3F8BEE}"/>
                    </a:ext>
                  </a:extLst>
                </p:cNvPr>
                <p:cNvSpPr>
                  <a:spLocks noChangeAspect="1" noChangeArrowheads="1" noTextEdit="1"/>
                </p:cNvSpPr>
                <p:nvPr/>
              </p:nvSpPr>
              <p:spPr bwMode="auto">
                <a:xfrm>
                  <a:off x="2342" y="775"/>
                  <a:ext cx="665" cy="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37" name="Oval 5">
                  <a:extLst>
                    <a:ext uri="{FF2B5EF4-FFF2-40B4-BE49-F238E27FC236}">
                      <a16:creationId xmlns:a16="http://schemas.microsoft.com/office/drawing/2014/main" id="{C4A8C160-1268-47F6-B8F4-28F7E0ED0B46}"/>
                    </a:ext>
                  </a:extLst>
                </p:cNvPr>
                <p:cNvSpPr>
                  <a:spLocks noChangeArrowheads="1"/>
                </p:cNvSpPr>
                <p:nvPr/>
              </p:nvSpPr>
              <p:spPr bwMode="auto">
                <a:xfrm>
                  <a:off x="2341" y="776"/>
                  <a:ext cx="665" cy="672"/>
                </a:xfrm>
                <a:prstGeom prst="ellipse">
                  <a:avLst/>
                </a:prstGeom>
                <a:solidFill>
                  <a:srgbClr val="00A4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38" name="Freeform 6">
                  <a:extLst>
                    <a:ext uri="{FF2B5EF4-FFF2-40B4-BE49-F238E27FC236}">
                      <a16:creationId xmlns:a16="http://schemas.microsoft.com/office/drawing/2014/main" id="{00736817-FF68-4F06-9111-44E4C369E94F}"/>
                    </a:ext>
                  </a:extLst>
                </p:cNvPr>
                <p:cNvSpPr>
                  <a:spLocks/>
                </p:cNvSpPr>
                <p:nvPr/>
              </p:nvSpPr>
              <p:spPr bwMode="auto">
                <a:xfrm>
                  <a:off x="2556" y="987"/>
                  <a:ext cx="216" cy="64"/>
                </a:xfrm>
                <a:custGeom>
                  <a:avLst/>
                  <a:gdLst>
                    <a:gd name="T0" fmla="*/ 0 w 231"/>
                    <a:gd name="T1" fmla="*/ 51 h 68"/>
                    <a:gd name="T2" fmla="*/ 11 w 231"/>
                    <a:gd name="T3" fmla="*/ 68 h 68"/>
                    <a:gd name="T4" fmla="*/ 219 w 231"/>
                    <a:gd name="T5" fmla="*/ 68 h 68"/>
                    <a:gd name="T6" fmla="*/ 231 w 231"/>
                    <a:gd name="T7" fmla="*/ 51 h 68"/>
                    <a:gd name="T8" fmla="*/ 231 w 231"/>
                    <a:gd name="T9" fmla="*/ 16 h 68"/>
                    <a:gd name="T10" fmla="*/ 219 w 231"/>
                    <a:gd name="T11" fmla="*/ 0 h 68"/>
                    <a:gd name="T12" fmla="*/ 11 w 231"/>
                    <a:gd name="T13" fmla="*/ 0 h 68"/>
                    <a:gd name="T14" fmla="*/ 0 w 231"/>
                    <a:gd name="T15" fmla="*/ 16 h 68"/>
                    <a:gd name="T16" fmla="*/ 0 w 231"/>
                    <a:gd name="T17" fmla="*/ 5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1" h="68">
                      <a:moveTo>
                        <a:pt x="0" y="51"/>
                      </a:moveTo>
                      <a:cubicBezTo>
                        <a:pt x="0" y="60"/>
                        <a:pt x="5" y="68"/>
                        <a:pt x="11" y="68"/>
                      </a:cubicBezTo>
                      <a:cubicBezTo>
                        <a:pt x="219" y="68"/>
                        <a:pt x="219" y="68"/>
                        <a:pt x="219" y="68"/>
                      </a:cubicBezTo>
                      <a:cubicBezTo>
                        <a:pt x="226" y="68"/>
                        <a:pt x="231" y="60"/>
                        <a:pt x="231" y="51"/>
                      </a:cubicBezTo>
                      <a:cubicBezTo>
                        <a:pt x="231" y="16"/>
                        <a:pt x="231" y="16"/>
                        <a:pt x="231" y="16"/>
                      </a:cubicBezTo>
                      <a:cubicBezTo>
                        <a:pt x="231" y="7"/>
                        <a:pt x="226" y="0"/>
                        <a:pt x="219" y="0"/>
                      </a:cubicBezTo>
                      <a:cubicBezTo>
                        <a:pt x="11" y="0"/>
                        <a:pt x="11" y="0"/>
                        <a:pt x="11" y="0"/>
                      </a:cubicBezTo>
                      <a:cubicBezTo>
                        <a:pt x="5" y="0"/>
                        <a:pt x="0" y="7"/>
                        <a:pt x="0" y="16"/>
                      </a:cubicBezTo>
                      <a:lnTo>
                        <a:pt x="0" y="51"/>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39" name="Freeform 7">
                  <a:extLst>
                    <a:ext uri="{FF2B5EF4-FFF2-40B4-BE49-F238E27FC236}">
                      <a16:creationId xmlns:a16="http://schemas.microsoft.com/office/drawing/2014/main" id="{E843D358-8C36-49AA-8D8E-5630CEBB6D77}"/>
                    </a:ext>
                  </a:extLst>
                </p:cNvPr>
                <p:cNvSpPr>
                  <a:spLocks/>
                </p:cNvSpPr>
                <p:nvPr/>
              </p:nvSpPr>
              <p:spPr bwMode="auto">
                <a:xfrm>
                  <a:off x="2565" y="886"/>
                  <a:ext cx="193" cy="262"/>
                </a:xfrm>
                <a:custGeom>
                  <a:avLst/>
                  <a:gdLst>
                    <a:gd name="T0" fmla="*/ 3 w 207"/>
                    <a:gd name="T1" fmla="*/ 129 h 278"/>
                    <a:gd name="T2" fmla="*/ 3 w 207"/>
                    <a:gd name="T3" fmla="*/ 214 h 278"/>
                    <a:gd name="T4" fmla="*/ 25 w 207"/>
                    <a:gd name="T5" fmla="*/ 247 h 278"/>
                    <a:gd name="T6" fmla="*/ 161 w 207"/>
                    <a:gd name="T7" fmla="*/ 259 h 278"/>
                    <a:gd name="T8" fmla="*/ 195 w 207"/>
                    <a:gd name="T9" fmla="*/ 243 h 278"/>
                    <a:gd name="T10" fmla="*/ 207 w 207"/>
                    <a:gd name="T11" fmla="*/ 207 h 278"/>
                    <a:gd name="T12" fmla="*/ 207 w 207"/>
                    <a:gd name="T13" fmla="*/ 69 h 278"/>
                    <a:gd name="T14" fmla="*/ 171 w 207"/>
                    <a:gd name="T15" fmla="*/ 9 h 278"/>
                    <a:gd name="T16" fmla="*/ 45 w 207"/>
                    <a:gd name="T17" fmla="*/ 0 h 278"/>
                    <a:gd name="T18" fmla="*/ 25 w 207"/>
                    <a:gd name="T19" fmla="*/ 52 h 278"/>
                    <a:gd name="T20" fmla="*/ 10 w 207"/>
                    <a:gd name="T21" fmla="*/ 102 h 278"/>
                    <a:gd name="T22" fmla="*/ 3 w 207"/>
                    <a:gd name="T23" fmla="*/ 12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278">
                      <a:moveTo>
                        <a:pt x="3" y="129"/>
                      </a:moveTo>
                      <a:cubicBezTo>
                        <a:pt x="3" y="214"/>
                        <a:pt x="3" y="214"/>
                        <a:pt x="3" y="214"/>
                      </a:cubicBezTo>
                      <a:cubicBezTo>
                        <a:pt x="3" y="214"/>
                        <a:pt x="0" y="238"/>
                        <a:pt x="25" y="247"/>
                      </a:cubicBezTo>
                      <a:cubicBezTo>
                        <a:pt x="25" y="247"/>
                        <a:pt x="93" y="278"/>
                        <a:pt x="161" y="259"/>
                      </a:cubicBezTo>
                      <a:cubicBezTo>
                        <a:pt x="195" y="243"/>
                        <a:pt x="195" y="243"/>
                        <a:pt x="195" y="243"/>
                      </a:cubicBezTo>
                      <a:cubicBezTo>
                        <a:pt x="195" y="243"/>
                        <a:pt x="207" y="240"/>
                        <a:pt x="207" y="207"/>
                      </a:cubicBezTo>
                      <a:cubicBezTo>
                        <a:pt x="207" y="69"/>
                        <a:pt x="207" y="69"/>
                        <a:pt x="207" y="69"/>
                      </a:cubicBezTo>
                      <a:cubicBezTo>
                        <a:pt x="207" y="69"/>
                        <a:pt x="176" y="10"/>
                        <a:pt x="171" y="9"/>
                      </a:cubicBezTo>
                      <a:cubicBezTo>
                        <a:pt x="166" y="8"/>
                        <a:pt x="45" y="0"/>
                        <a:pt x="45" y="0"/>
                      </a:cubicBezTo>
                      <a:cubicBezTo>
                        <a:pt x="25" y="52"/>
                        <a:pt x="25" y="52"/>
                        <a:pt x="25" y="52"/>
                      </a:cubicBezTo>
                      <a:cubicBezTo>
                        <a:pt x="10" y="102"/>
                        <a:pt x="10" y="102"/>
                        <a:pt x="10" y="102"/>
                      </a:cubicBezTo>
                      <a:lnTo>
                        <a:pt x="3" y="129"/>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40" name="Freeform 8">
                  <a:extLst>
                    <a:ext uri="{FF2B5EF4-FFF2-40B4-BE49-F238E27FC236}">
                      <a16:creationId xmlns:a16="http://schemas.microsoft.com/office/drawing/2014/main" id="{B369937D-3CFA-415A-B865-A8A569A00B58}"/>
                    </a:ext>
                  </a:extLst>
                </p:cNvPr>
                <p:cNvSpPr>
                  <a:spLocks/>
                </p:cNvSpPr>
                <p:nvPr/>
              </p:nvSpPr>
              <p:spPr bwMode="auto">
                <a:xfrm>
                  <a:off x="2491" y="1208"/>
                  <a:ext cx="177" cy="240"/>
                </a:xfrm>
                <a:custGeom>
                  <a:avLst/>
                  <a:gdLst>
                    <a:gd name="T0" fmla="*/ 189 w 189"/>
                    <a:gd name="T1" fmla="*/ 0 h 254"/>
                    <a:gd name="T2" fmla="*/ 189 w 189"/>
                    <a:gd name="T3" fmla="*/ 254 h 254"/>
                    <a:gd name="T4" fmla="*/ 187 w 189"/>
                    <a:gd name="T5" fmla="*/ 254 h 254"/>
                    <a:gd name="T6" fmla="*/ 9 w 189"/>
                    <a:gd name="T7" fmla="*/ 200 h 254"/>
                    <a:gd name="T8" fmla="*/ 9 w 189"/>
                    <a:gd name="T9" fmla="*/ 189 h 254"/>
                    <a:gd name="T10" fmla="*/ 8 w 189"/>
                    <a:gd name="T11" fmla="*/ 172 h 254"/>
                    <a:gd name="T12" fmla="*/ 6 w 189"/>
                    <a:gd name="T13" fmla="*/ 137 h 254"/>
                    <a:gd name="T14" fmla="*/ 3 w 189"/>
                    <a:gd name="T15" fmla="*/ 73 h 254"/>
                    <a:gd name="T16" fmla="*/ 1 w 189"/>
                    <a:gd name="T17" fmla="*/ 17 h 254"/>
                    <a:gd name="T18" fmla="*/ 1 w 189"/>
                    <a:gd name="T19" fmla="*/ 17 h 254"/>
                    <a:gd name="T20" fmla="*/ 0 w 189"/>
                    <a:gd name="T21" fmla="*/ 14 h 254"/>
                    <a:gd name="T22" fmla="*/ 45 w 189"/>
                    <a:gd name="T23" fmla="*/ 11 h 254"/>
                    <a:gd name="T24" fmla="*/ 55 w 189"/>
                    <a:gd name="T25" fmla="*/ 10 h 254"/>
                    <a:gd name="T26" fmla="*/ 184 w 189"/>
                    <a:gd name="T27" fmla="*/ 1 h 254"/>
                    <a:gd name="T28" fmla="*/ 187 w 189"/>
                    <a:gd name="T29" fmla="*/ 0 h 254"/>
                    <a:gd name="T30" fmla="*/ 188 w 189"/>
                    <a:gd name="T31" fmla="*/ 0 h 254"/>
                    <a:gd name="T32" fmla="*/ 189 w 189"/>
                    <a:gd name="T33"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9" h="254">
                      <a:moveTo>
                        <a:pt x="189" y="0"/>
                      </a:moveTo>
                      <a:cubicBezTo>
                        <a:pt x="189" y="254"/>
                        <a:pt x="189" y="254"/>
                        <a:pt x="189" y="254"/>
                      </a:cubicBezTo>
                      <a:cubicBezTo>
                        <a:pt x="188" y="254"/>
                        <a:pt x="188" y="254"/>
                        <a:pt x="187" y="254"/>
                      </a:cubicBezTo>
                      <a:cubicBezTo>
                        <a:pt x="122" y="252"/>
                        <a:pt x="61" y="233"/>
                        <a:pt x="9" y="200"/>
                      </a:cubicBezTo>
                      <a:cubicBezTo>
                        <a:pt x="9" y="189"/>
                        <a:pt x="9" y="189"/>
                        <a:pt x="9" y="189"/>
                      </a:cubicBezTo>
                      <a:cubicBezTo>
                        <a:pt x="8" y="172"/>
                        <a:pt x="8" y="172"/>
                        <a:pt x="8" y="172"/>
                      </a:cubicBezTo>
                      <a:cubicBezTo>
                        <a:pt x="6" y="137"/>
                        <a:pt x="6" y="137"/>
                        <a:pt x="6" y="137"/>
                      </a:cubicBezTo>
                      <a:cubicBezTo>
                        <a:pt x="3" y="73"/>
                        <a:pt x="3" y="73"/>
                        <a:pt x="3" y="73"/>
                      </a:cubicBezTo>
                      <a:cubicBezTo>
                        <a:pt x="1" y="17"/>
                        <a:pt x="1" y="17"/>
                        <a:pt x="1" y="17"/>
                      </a:cubicBezTo>
                      <a:cubicBezTo>
                        <a:pt x="1" y="17"/>
                        <a:pt x="1" y="17"/>
                        <a:pt x="1" y="17"/>
                      </a:cubicBezTo>
                      <a:cubicBezTo>
                        <a:pt x="0" y="14"/>
                        <a:pt x="0" y="14"/>
                        <a:pt x="0" y="14"/>
                      </a:cubicBezTo>
                      <a:cubicBezTo>
                        <a:pt x="45" y="11"/>
                        <a:pt x="45" y="11"/>
                        <a:pt x="45" y="11"/>
                      </a:cubicBezTo>
                      <a:cubicBezTo>
                        <a:pt x="55" y="10"/>
                        <a:pt x="55" y="10"/>
                        <a:pt x="55" y="10"/>
                      </a:cubicBezTo>
                      <a:cubicBezTo>
                        <a:pt x="184" y="1"/>
                        <a:pt x="184" y="1"/>
                        <a:pt x="184" y="1"/>
                      </a:cubicBezTo>
                      <a:cubicBezTo>
                        <a:pt x="187" y="0"/>
                        <a:pt x="187" y="0"/>
                        <a:pt x="187" y="0"/>
                      </a:cubicBezTo>
                      <a:cubicBezTo>
                        <a:pt x="188" y="0"/>
                        <a:pt x="188" y="0"/>
                        <a:pt x="188" y="0"/>
                      </a:cubicBezTo>
                      <a:lnTo>
                        <a:pt x="189" y="0"/>
                      </a:lnTo>
                      <a:close/>
                    </a:path>
                  </a:pathLst>
                </a:custGeom>
                <a:solidFill>
                  <a:srgbClr val="7C1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41" name="Freeform 9">
                  <a:extLst>
                    <a:ext uri="{FF2B5EF4-FFF2-40B4-BE49-F238E27FC236}">
                      <a16:creationId xmlns:a16="http://schemas.microsoft.com/office/drawing/2014/main" id="{EC114B1D-5B6D-479D-ABA3-82F762C953EF}"/>
                    </a:ext>
                  </a:extLst>
                </p:cNvPr>
                <p:cNvSpPr>
                  <a:spLocks/>
                </p:cNvSpPr>
                <p:nvPr/>
              </p:nvSpPr>
              <p:spPr bwMode="auto">
                <a:xfrm>
                  <a:off x="2666" y="1208"/>
                  <a:ext cx="176" cy="240"/>
                </a:xfrm>
                <a:custGeom>
                  <a:avLst/>
                  <a:gdLst>
                    <a:gd name="T0" fmla="*/ 189 w 189"/>
                    <a:gd name="T1" fmla="*/ 14 h 254"/>
                    <a:gd name="T2" fmla="*/ 188 w 189"/>
                    <a:gd name="T3" fmla="*/ 17 h 254"/>
                    <a:gd name="T4" fmla="*/ 188 w 189"/>
                    <a:gd name="T5" fmla="*/ 17 h 254"/>
                    <a:gd name="T6" fmla="*/ 186 w 189"/>
                    <a:gd name="T7" fmla="*/ 73 h 254"/>
                    <a:gd name="T8" fmla="*/ 182 w 189"/>
                    <a:gd name="T9" fmla="*/ 155 h 254"/>
                    <a:gd name="T10" fmla="*/ 180 w 189"/>
                    <a:gd name="T11" fmla="*/ 187 h 254"/>
                    <a:gd name="T12" fmla="*/ 180 w 189"/>
                    <a:gd name="T13" fmla="*/ 189 h 254"/>
                    <a:gd name="T14" fmla="*/ 180 w 189"/>
                    <a:gd name="T15" fmla="*/ 210 h 254"/>
                    <a:gd name="T16" fmla="*/ 9 w 189"/>
                    <a:gd name="T17" fmla="*/ 254 h 254"/>
                    <a:gd name="T18" fmla="*/ 2 w 189"/>
                    <a:gd name="T19" fmla="*/ 254 h 254"/>
                    <a:gd name="T20" fmla="*/ 0 w 189"/>
                    <a:gd name="T21" fmla="*/ 254 h 254"/>
                    <a:gd name="T22" fmla="*/ 0 w 189"/>
                    <a:gd name="T23" fmla="*/ 0 h 254"/>
                    <a:gd name="T24" fmla="*/ 1 w 189"/>
                    <a:gd name="T25" fmla="*/ 0 h 254"/>
                    <a:gd name="T26" fmla="*/ 2 w 189"/>
                    <a:gd name="T27" fmla="*/ 0 h 254"/>
                    <a:gd name="T28" fmla="*/ 5 w 189"/>
                    <a:gd name="T29" fmla="*/ 1 h 254"/>
                    <a:gd name="T30" fmla="*/ 134 w 189"/>
                    <a:gd name="T31" fmla="*/ 10 h 254"/>
                    <a:gd name="T32" fmla="*/ 144 w 189"/>
                    <a:gd name="T33" fmla="*/ 11 h 254"/>
                    <a:gd name="T34" fmla="*/ 189 w 189"/>
                    <a:gd name="T35" fmla="*/ 1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9" h="254">
                      <a:moveTo>
                        <a:pt x="189" y="14"/>
                      </a:moveTo>
                      <a:cubicBezTo>
                        <a:pt x="188" y="17"/>
                        <a:pt x="188" y="17"/>
                        <a:pt x="188" y="17"/>
                      </a:cubicBezTo>
                      <a:cubicBezTo>
                        <a:pt x="188" y="17"/>
                        <a:pt x="188" y="17"/>
                        <a:pt x="188" y="17"/>
                      </a:cubicBezTo>
                      <a:cubicBezTo>
                        <a:pt x="186" y="73"/>
                        <a:pt x="186" y="73"/>
                        <a:pt x="186" y="73"/>
                      </a:cubicBezTo>
                      <a:cubicBezTo>
                        <a:pt x="182" y="155"/>
                        <a:pt x="182" y="155"/>
                        <a:pt x="182" y="155"/>
                      </a:cubicBezTo>
                      <a:cubicBezTo>
                        <a:pt x="180" y="187"/>
                        <a:pt x="180" y="187"/>
                        <a:pt x="180" y="187"/>
                      </a:cubicBezTo>
                      <a:cubicBezTo>
                        <a:pt x="180" y="189"/>
                        <a:pt x="180" y="189"/>
                        <a:pt x="180" y="189"/>
                      </a:cubicBezTo>
                      <a:cubicBezTo>
                        <a:pt x="180" y="210"/>
                        <a:pt x="180" y="210"/>
                        <a:pt x="180" y="210"/>
                      </a:cubicBezTo>
                      <a:cubicBezTo>
                        <a:pt x="129" y="238"/>
                        <a:pt x="71" y="254"/>
                        <a:pt x="9" y="254"/>
                      </a:cubicBezTo>
                      <a:cubicBezTo>
                        <a:pt x="7" y="254"/>
                        <a:pt x="4" y="254"/>
                        <a:pt x="2" y="254"/>
                      </a:cubicBezTo>
                      <a:cubicBezTo>
                        <a:pt x="1" y="254"/>
                        <a:pt x="1" y="254"/>
                        <a:pt x="0" y="254"/>
                      </a:cubicBezTo>
                      <a:cubicBezTo>
                        <a:pt x="0" y="0"/>
                        <a:pt x="0" y="0"/>
                        <a:pt x="0" y="0"/>
                      </a:cubicBezTo>
                      <a:cubicBezTo>
                        <a:pt x="1" y="0"/>
                        <a:pt x="1" y="0"/>
                        <a:pt x="1" y="0"/>
                      </a:cubicBezTo>
                      <a:cubicBezTo>
                        <a:pt x="2" y="0"/>
                        <a:pt x="2" y="0"/>
                        <a:pt x="2" y="0"/>
                      </a:cubicBezTo>
                      <a:cubicBezTo>
                        <a:pt x="5" y="1"/>
                        <a:pt x="5" y="1"/>
                        <a:pt x="5" y="1"/>
                      </a:cubicBezTo>
                      <a:cubicBezTo>
                        <a:pt x="134" y="10"/>
                        <a:pt x="134" y="10"/>
                        <a:pt x="134" y="10"/>
                      </a:cubicBezTo>
                      <a:cubicBezTo>
                        <a:pt x="144" y="11"/>
                        <a:pt x="144" y="11"/>
                        <a:pt x="144" y="11"/>
                      </a:cubicBezTo>
                      <a:lnTo>
                        <a:pt x="189" y="14"/>
                      </a:lnTo>
                      <a:close/>
                    </a:path>
                  </a:pathLst>
                </a:custGeom>
                <a:solidFill>
                  <a:srgbClr val="7C1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42" name="Freeform 10">
                  <a:extLst>
                    <a:ext uri="{FF2B5EF4-FFF2-40B4-BE49-F238E27FC236}">
                      <a16:creationId xmlns:a16="http://schemas.microsoft.com/office/drawing/2014/main" id="{8AB37B2D-779F-42C4-B1F1-986BAEB1257A}"/>
                    </a:ext>
                  </a:extLst>
                </p:cNvPr>
                <p:cNvSpPr>
                  <a:spLocks/>
                </p:cNvSpPr>
                <p:nvPr/>
              </p:nvSpPr>
              <p:spPr bwMode="auto">
                <a:xfrm>
                  <a:off x="2799" y="1182"/>
                  <a:ext cx="119" cy="217"/>
                </a:xfrm>
                <a:custGeom>
                  <a:avLst/>
                  <a:gdLst>
                    <a:gd name="T0" fmla="*/ 127 w 127"/>
                    <a:gd name="T1" fmla="*/ 168 h 230"/>
                    <a:gd name="T2" fmla="*/ 51 w 127"/>
                    <a:gd name="T3" fmla="*/ 230 h 230"/>
                    <a:gd name="T4" fmla="*/ 39 w 127"/>
                    <a:gd name="T5" fmla="*/ 183 h 230"/>
                    <a:gd name="T6" fmla="*/ 13 w 127"/>
                    <a:gd name="T7" fmla="*/ 96 h 230"/>
                    <a:gd name="T8" fmla="*/ 13 w 127"/>
                    <a:gd name="T9" fmla="*/ 95 h 230"/>
                    <a:gd name="T10" fmla="*/ 11 w 127"/>
                    <a:gd name="T11" fmla="*/ 89 h 230"/>
                    <a:gd name="T12" fmla="*/ 2 w 127"/>
                    <a:gd name="T13" fmla="*/ 58 h 230"/>
                    <a:gd name="T14" fmla="*/ 1 w 127"/>
                    <a:gd name="T15" fmla="*/ 39 h 230"/>
                    <a:gd name="T16" fmla="*/ 32 w 127"/>
                    <a:gd name="T17" fmla="*/ 2 h 230"/>
                    <a:gd name="T18" fmla="*/ 54 w 127"/>
                    <a:gd name="T19" fmla="*/ 1 h 230"/>
                    <a:gd name="T20" fmla="*/ 88 w 127"/>
                    <a:gd name="T21" fmla="*/ 33 h 230"/>
                    <a:gd name="T22" fmla="*/ 98 w 127"/>
                    <a:gd name="T23" fmla="*/ 65 h 230"/>
                    <a:gd name="T24" fmla="*/ 99 w 127"/>
                    <a:gd name="T25" fmla="*/ 70 h 230"/>
                    <a:gd name="T26" fmla="*/ 127 w 127"/>
                    <a:gd name="T27" fmla="*/ 168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230">
                      <a:moveTo>
                        <a:pt x="127" y="168"/>
                      </a:moveTo>
                      <a:cubicBezTo>
                        <a:pt x="105" y="192"/>
                        <a:pt x="79" y="213"/>
                        <a:pt x="51" y="230"/>
                      </a:cubicBezTo>
                      <a:cubicBezTo>
                        <a:pt x="47" y="214"/>
                        <a:pt x="43" y="198"/>
                        <a:pt x="39" y="183"/>
                      </a:cubicBezTo>
                      <a:cubicBezTo>
                        <a:pt x="30" y="151"/>
                        <a:pt x="21" y="122"/>
                        <a:pt x="13" y="96"/>
                      </a:cubicBezTo>
                      <a:cubicBezTo>
                        <a:pt x="13" y="95"/>
                        <a:pt x="13" y="95"/>
                        <a:pt x="13" y="95"/>
                      </a:cubicBezTo>
                      <a:cubicBezTo>
                        <a:pt x="12" y="93"/>
                        <a:pt x="12" y="91"/>
                        <a:pt x="11" y="89"/>
                      </a:cubicBezTo>
                      <a:cubicBezTo>
                        <a:pt x="8" y="78"/>
                        <a:pt x="5" y="67"/>
                        <a:pt x="2" y="58"/>
                      </a:cubicBezTo>
                      <a:cubicBezTo>
                        <a:pt x="0" y="51"/>
                        <a:pt x="0" y="45"/>
                        <a:pt x="1" y="39"/>
                      </a:cubicBezTo>
                      <a:cubicBezTo>
                        <a:pt x="3" y="22"/>
                        <a:pt x="15" y="7"/>
                        <a:pt x="32" y="2"/>
                      </a:cubicBezTo>
                      <a:cubicBezTo>
                        <a:pt x="40" y="0"/>
                        <a:pt x="47" y="0"/>
                        <a:pt x="54" y="1"/>
                      </a:cubicBezTo>
                      <a:cubicBezTo>
                        <a:pt x="70" y="5"/>
                        <a:pt x="83" y="16"/>
                        <a:pt x="88" y="33"/>
                      </a:cubicBezTo>
                      <a:cubicBezTo>
                        <a:pt x="91" y="42"/>
                        <a:pt x="94" y="53"/>
                        <a:pt x="98" y="65"/>
                      </a:cubicBezTo>
                      <a:cubicBezTo>
                        <a:pt x="98" y="67"/>
                        <a:pt x="99" y="68"/>
                        <a:pt x="99" y="70"/>
                      </a:cubicBezTo>
                      <a:cubicBezTo>
                        <a:pt x="108" y="98"/>
                        <a:pt x="118" y="132"/>
                        <a:pt x="127" y="168"/>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43" name="Freeform 11">
                  <a:extLst>
                    <a:ext uri="{FF2B5EF4-FFF2-40B4-BE49-F238E27FC236}">
                      <a16:creationId xmlns:a16="http://schemas.microsoft.com/office/drawing/2014/main" id="{66962EF7-283B-404D-943B-09AD1B5364E4}"/>
                    </a:ext>
                  </a:extLst>
                </p:cNvPr>
                <p:cNvSpPr>
                  <a:spLocks/>
                </p:cNvSpPr>
                <p:nvPr/>
              </p:nvSpPr>
              <p:spPr bwMode="auto">
                <a:xfrm>
                  <a:off x="2790" y="1172"/>
                  <a:ext cx="105" cy="106"/>
                </a:xfrm>
                <a:custGeom>
                  <a:avLst/>
                  <a:gdLst>
                    <a:gd name="T0" fmla="*/ 1 w 112"/>
                    <a:gd name="T1" fmla="*/ 58 h 112"/>
                    <a:gd name="T2" fmla="*/ 58 w 112"/>
                    <a:gd name="T3" fmla="*/ 111 h 112"/>
                    <a:gd name="T4" fmla="*/ 111 w 112"/>
                    <a:gd name="T5" fmla="*/ 54 h 112"/>
                    <a:gd name="T6" fmla="*/ 54 w 112"/>
                    <a:gd name="T7" fmla="*/ 1 h 112"/>
                    <a:gd name="T8" fmla="*/ 1 w 112"/>
                    <a:gd name="T9" fmla="*/ 58 h 112"/>
                  </a:gdLst>
                  <a:ahLst/>
                  <a:cxnLst>
                    <a:cxn ang="0">
                      <a:pos x="T0" y="T1"/>
                    </a:cxn>
                    <a:cxn ang="0">
                      <a:pos x="T2" y="T3"/>
                    </a:cxn>
                    <a:cxn ang="0">
                      <a:pos x="T4" y="T5"/>
                    </a:cxn>
                    <a:cxn ang="0">
                      <a:pos x="T6" y="T7"/>
                    </a:cxn>
                    <a:cxn ang="0">
                      <a:pos x="T8" y="T9"/>
                    </a:cxn>
                  </a:cxnLst>
                  <a:rect l="0" t="0" r="r" b="b"/>
                  <a:pathLst>
                    <a:path w="112" h="112">
                      <a:moveTo>
                        <a:pt x="1" y="58"/>
                      </a:moveTo>
                      <a:cubicBezTo>
                        <a:pt x="2" y="88"/>
                        <a:pt x="27" y="112"/>
                        <a:pt x="58" y="111"/>
                      </a:cubicBezTo>
                      <a:cubicBezTo>
                        <a:pt x="88" y="110"/>
                        <a:pt x="112" y="85"/>
                        <a:pt x="111" y="54"/>
                      </a:cubicBezTo>
                      <a:cubicBezTo>
                        <a:pt x="110" y="24"/>
                        <a:pt x="84" y="0"/>
                        <a:pt x="54" y="1"/>
                      </a:cubicBezTo>
                      <a:cubicBezTo>
                        <a:pt x="24" y="2"/>
                        <a:pt x="0" y="27"/>
                        <a:pt x="1" y="58"/>
                      </a:cubicBezTo>
                      <a:close/>
                    </a:path>
                  </a:pathLst>
                </a:custGeom>
                <a:solidFill>
                  <a:srgbClr val="7C1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44" name="Freeform 12">
                  <a:extLst>
                    <a:ext uri="{FF2B5EF4-FFF2-40B4-BE49-F238E27FC236}">
                      <a16:creationId xmlns:a16="http://schemas.microsoft.com/office/drawing/2014/main" id="{49F16180-CF20-4A03-90FE-B55ECCA81923}"/>
                    </a:ext>
                  </a:extLst>
                </p:cNvPr>
                <p:cNvSpPr>
                  <a:spLocks/>
                </p:cNvSpPr>
                <p:nvPr/>
              </p:nvSpPr>
              <p:spPr bwMode="auto">
                <a:xfrm>
                  <a:off x="2414" y="1182"/>
                  <a:ext cx="120" cy="204"/>
                </a:xfrm>
                <a:custGeom>
                  <a:avLst/>
                  <a:gdLst>
                    <a:gd name="T0" fmla="*/ 125 w 128"/>
                    <a:gd name="T1" fmla="*/ 60 h 216"/>
                    <a:gd name="T2" fmla="*/ 114 w 128"/>
                    <a:gd name="T3" fmla="*/ 91 h 216"/>
                    <a:gd name="T4" fmla="*/ 112 w 128"/>
                    <a:gd name="T5" fmla="*/ 95 h 216"/>
                    <a:gd name="T6" fmla="*/ 111 w 128"/>
                    <a:gd name="T7" fmla="*/ 98 h 216"/>
                    <a:gd name="T8" fmla="*/ 88 w 128"/>
                    <a:gd name="T9" fmla="*/ 165 h 216"/>
                    <a:gd name="T10" fmla="*/ 72 w 128"/>
                    <a:gd name="T11" fmla="*/ 216 h 216"/>
                    <a:gd name="T12" fmla="*/ 0 w 128"/>
                    <a:gd name="T13" fmla="*/ 147 h 216"/>
                    <a:gd name="T14" fmla="*/ 27 w 128"/>
                    <a:gd name="T15" fmla="*/ 69 h 216"/>
                    <a:gd name="T16" fmla="*/ 29 w 128"/>
                    <a:gd name="T17" fmla="*/ 62 h 216"/>
                    <a:gd name="T18" fmla="*/ 29 w 128"/>
                    <a:gd name="T19" fmla="*/ 62 h 216"/>
                    <a:gd name="T20" fmla="*/ 40 w 128"/>
                    <a:gd name="T21" fmla="*/ 31 h 216"/>
                    <a:gd name="T22" fmla="*/ 74 w 128"/>
                    <a:gd name="T23" fmla="*/ 1 h 216"/>
                    <a:gd name="T24" fmla="*/ 97 w 128"/>
                    <a:gd name="T25" fmla="*/ 3 h 216"/>
                    <a:gd name="T26" fmla="*/ 127 w 128"/>
                    <a:gd name="T27" fmla="*/ 39 h 216"/>
                    <a:gd name="T28" fmla="*/ 125 w 128"/>
                    <a:gd name="T29" fmla="*/ 6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216">
                      <a:moveTo>
                        <a:pt x="125" y="60"/>
                      </a:moveTo>
                      <a:cubicBezTo>
                        <a:pt x="122" y="69"/>
                        <a:pt x="118" y="80"/>
                        <a:pt x="114" y="91"/>
                      </a:cubicBezTo>
                      <a:cubicBezTo>
                        <a:pt x="113" y="93"/>
                        <a:pt x="113" y="94"/>
                        <a:pt x="112" y="95"/>
                      </a:cubicBezTo>
                      <a:cubicBezTo>
                        <a:pt x="112" y="96"/>
                        <a:pt x="112" y="97"/>
                        <a:pt x="111" y="98"/>
                      </a:cubicBezTo>
                      <a:cubicBezTo>
                        <a:pt x="104" y="119"/>
                        <a:pt x="96" y="141"/>
                        <a:pt x="88" y="165"/>
                      </a:cubicBezTo>
                      <a:cubicBezTo>
                        <a:pt x="83" y="181"/>
                        <a:pt x="77" y="198"/>
                        <a:pt x="72" y="216"/>
                      </a:cubicBezTo>
                      <a:cubicBezTo>
                        <a:pt x="45" y="196"/>
                        <a:pt x="21" y="173"/>
                        <a:pt x="0" y="147"/>
                      </a:cubicBezTo>
                      <a:cubicBezTo>
                        <a:pt x="9" y="118"/>
                        <a:pt x="19" y="92"/>
                        <a:pt x="27" y="69"/>
                      </a:cubicBezTo>
                      <a:cubicBezTo>
                        <a:pt x="28" y="66"/>
                        <a:pt x="28" y="64"/>
                        <a:pt x="29" y="62"/>
                      </a:cubicBezTo>
                      <a:cubicBezTo>
                        <a:pt x="29" y="62"/>
                        <a:pt x="29" y="62"/>
                        <a:pt x="29" y="62"/>
                      </a:cubicBezTo>
                      <a:cubicBezTo>
                        <a:pt x="33" y="51"/>
                        <a:pt x="37" y="40"/>
                        <a:pt x="40" y="31"/>
                      </a:cubicBezTo>
                      <a:cubicBezTo>
                        <a:pt x="45" y="15"/>
                        <a:pt x="59" y="4"/>
                        <a:pt x="74" y="1"/>
                      </a:cubicBezTo>
                      <a:cubicBezTo>
                        <a:pt x="81" y="0"/>
                        <a:pt x="89" y="0"/>
                        <a:pt x="97" y="3"/>
                      </a:cubicBezTo>
                      <a:cubicBezTo>
                        <a:pt x="113" y="8"/>
                        <a:pt x="125" y="23"/>
                        <a:pt x="127" y="39"/>
                      </a:cubicBezTo>
                      <a:cubicBezTo>
                        <a:pt x="128" y="46"/>
                        <a:pt x="127" y="53"/>
                        <a:pt x="125" y="60"/>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45" name="Freeform 13">
                  <a:extLst>
                    <a:ext uri="{FF2B5EF4-FFF2-40B4-BE49-F238E27FC236}">
                      <a16:creationId xmlns:a16="http://schemas.microsoft.com/office/drawing/2014/main" id="{A15473CA-DD0E-431B-BCB8-D427334D384D}"/>
                    </a:ext>
                  </a:extLst>
                </p:cNvPr>
                <p:cNvSpPr>
                  <a:spLocks/>
                </p:cNvSpPr>
                <p:nvPr/>
              </p:nvSpPr>
              <p:spPr bwMode="auto">
                <a:xfrm>
                  <a:off x="2481" y="1137"/>
                  <a:ext cx="196" cy="138"/>
                </a:xfrm>
                <a:custGeom>
                  <a:avLst/>
                  <a:gdLst>
                    <a:gd name="T0" fmla="*/ 20 w 196"/>
                    <a:gd name="T1" fmla="*/ 138 h 138"/>
                    <a:gd name="T2" fmla="*/ 0 w 196"/>
                    <a:gd name="T3" fmla="*/ 36 h 138"/>
                    <a:gd name="T4" fmla="*/ 175 w 196"/>
                    <a:gd name="T5" fmla="*/ 0 h 138"/>
                    <a:gd name="T6" fmla="*/ 196 w 196"/>
                    <a:gd name="T7" fmla="*/ 102 h 138"/>
                    <a:gd name="T8" fmla="*/ 20 w 196"/>
                    <a:gd name="T9" fmla="*/ 138 h 138"/>
                  </a:gdLst>
                  <a:ahLst/>
                  <a:cxnLst>
                    <a:cxn ang="0">
                      <a:pos x="T0" y="T1"/>
                    </a:cxn>
                    <a:cxn ang="0">
                      <a:pos x="T2" y="T3"/>
                    </a:cxn>
                    <a:cxn ang="0">
                      <a:pos x="T4" y="T5"/>
                    </a:cxn>
                    <a:cxn ang="0">
                      <a:pos x="T6" y="T7"/>
                    </a:cxn>
                    <a:cxn ang="0">
                      <a:pos x="T8" y="T9"/>
                    </a:cxn>
                  </a:cxnLst>
                  <a:rect l="0" t="0" r="r" b="b"/>
                  <a:pathLst>
                    <a:path w="196" h="138">
                      <a:moveTo>
                        <a:pt x="20" y="138"/>
                      </a:moveTo>
                      <a:lnTo>
                        <a:pt x="0" y="36"/>
                      </a:lnTo>
                      <a:lnTo>
                        <a:pt x="175" y="0"/>
                      </a:lnTo>
                      <a:lnTo>
                        <a:pt x="196" y="102"/>
                      </a:lnTo>
                      <a:lnTo>
                        <a:pt x="20" y="138"/>
                      </a:lnTo>
                      <a:close/>
                    </a:path>
                  </a:pathLst>
                </a:custGeom>
                <a:solidFill>
                  <a:srgbClr val="7C1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46" name="Freeform 14">
                  <a:extLst>
                    <a:ext uri="{FF2B5EF4-FFF2-40B4-BE49-F238E27FC236}">
                      <a16:creationId xmlns:a16="http://schemas.microsoft.com/office/drawing/2014/main" id="{EB829C40-2F04-41CF-BD52-F2F5F45C6383}"/>
                    </a:ext>
                  </a:extLst>
                </p:cNvPr>
                <p:cNvSpPr>
                  <a:spLocks/>
                </p:cNvSpPr>
                <p:nvPr/>
              </p:nvSpPr>
              <p:spPr bwMode="auto">
                <a:xfrm>
                  <a:off x="2656" y="1137"/>
                  <a:ext cx="196" cy="138"/>
                </a:xfrm>
                <a:custGeom>
                  <a:avLst/>
                  <a:gdLst>
                    <a:gd name="T0" fmla="*/ 176 w 196"/>
                    <a:gd name="T1" fmla="*/ 138 h 138"/>
                    <a:gd name="T2" fmla="*/ 0 w 196"/>
                    <a:gd name="T3" fmla="*/ 102 h 138"/>
                    <a:gd name="T4" fmla="*/ 21 w 196"/>
                    <a:gd name="T5" fmla="*/ 0 h 138"/>
                    <a:gd name="T6" fmla="*/ 196 w 196"/>
                    <a:gd name="T7" fmla="*/ 36 h 138"/>
                    <a:gd name="T8" fmla="*/ 176 w 196"/>
                    <a:gd name="T9" fmla="*/ 138 h 138"/>
                  </a:gdLst>
                  <a:ahLst/>
                  <a:cxnLst>
                    <a:cxn ang="0">
                      <a:pos x="T0" y="T1"/>
                    </a:cxn>
                    <a:cxn ang="0">
                      <a:pos x="T2" y="T3"/>
                    </a:cxn>
                    <a:cxn ang="0">
                      <a:pos x="T4" y="T5"/>
                    </a:cxn>
                    <a:cxn ang="0">
                      <a:pos x="T6" y="T7"/>
                    </a:cxn>
                    <a:cxn ang="0">
                      <a:pos x="T8" y="T9"/>
                    </a:cxn>
                  </a:cxnLst>
                  <a:rect l="0" t="0" r="r" b="b"/>
                  <a:pathLst>
                    <a:path w="196" h="138">
                      <a:moveTo>
                        <a:pt x="176" y="138"/>
                      </a:moveTo>
                      <a:lnTo>
                        <a:pt x="0" y="102"/>
                      </a:lnTo>
                      <a:lnTo>
                        <a:pt x="21" y="0"/>
                      </a:lnTo>
                      <a:lnTo>
                        <a:pt x="196" y="36"/>
                      </a:lnTo>
                      <a:lnTo>
                        <a:pt x="176" y="138"/>
                      </a:lnTo>
                      <a:close/>
                    </a:path>
                  </a:pathLst>
                </a:custGeom>
                <a:solidFill>
                  <a:srgbClr val="7C1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47" name="Freeform 15">
                  <a:extLst>
                    <a:ext uri="{FF2B5EF4-FFF2-40B4-BE49-F238E27FC236}">
                      <a16:creationId xmlns:a16="http://schemas.microsoft.com/office/drawing/2014/main" id="{E343A3CA-CF11-4401-98FC-BCCA1450CA6E}"/>
                    </a:ext>
                  </a:extLst>
                </p:cNvPr>
                <p:cNvSpPr>
                  <a:spLocks/>
                </p:cNvSpPr>
                <p:nvPr/>
              </p:nvSpPr>
              <p:spPr bwMode="auto">
                <a:xfrm>
                  <a:off x="2792" y="1210"/>
                  <a:ext cx="135" cy="194"/>
                </a:xfrm>
                <a:custGeom>
                  <a:avLst/>
                  <a:gdLst>
                    <a:gd name="T0" fmla="*/ 144 w 144"/>
                    <a:gd name="T1" fmla="*/ 128 h 205"/>
                    <a:gd name="T2" fmla="*/ 135 w 144"/>
                    <a:gd name="T3" fmla="*/ 138 h 205"/>
                    <a:gd name="T4" fmla="*/ 59 w 144"/>
                    <a:gd name="T5" fmla="*/ 200 h 205"/>
                    <a:gd name="T6" fmla="*/ 51 w 144"/>
                    <a:gd name="T7" fmla="*/ 205 h 205"/>
                    <a:gd name="T8" fmla="*/ 45 w 144"/>
                    <a:gd name="T9" fmla="*/ 185 h 205"/>
                    <a:gd name="T10" fmla="*/ 10 w 144"/>
                    <a:gd name="T11" fmla="*/ 65 h 205"/>
                    <a:gd name="T12" fmla="*/ 9 w 144"/>
                    <a:gd name="T13" fmla="*/ 63 h 205"/>
                    <a:gd name="T14" fmla="*/ 0 w 144"/>
                    <a:gd name="T15" fmla="*/ 30 h 205"/>
                    <a:gd name="T16" fmla="*/ 1 w 144"/>
                    <a:gd name="T17" fmla="*/ 30 h 205"/>
                    <a:gd name="T18" fmla="*/ 10 w 144"/>
                    <a:gd name="T19" fmla="*/ 28 h 205"/>
                    <a:gd name="T20" fmla="*/ 53 w 144"/>
                    <a:gd name="T21" fmla="*/ 15 h 205"/>
                    <a:gd name="T22" fmla="*/ 96 w 144"/>
                    <a:gd name="T23" fmla="*/ 3 h 205"/>
                    <a:gd name="T24" fmla="*/ 106 w 144"/>
                    <a:gd name="T25" fmla="*/ 0 h 205"/>
                    <a:gd name="T26" fmla="*/ 109 w 144"/>
                    <a:gd name="T27" fmla="*/ 9 h 205"/>
                    <a:gd name="T28" fmla="*/ 116 w 144"/>
                    <a:gd name="T29" fmla="*/ 33 h 205"/>
                    <a:gd name="T30" fmla="*/ 144 w 144"/>
                    <a:gd name="T31" fmla="*/ 12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 h="205">
                      <a:moveTo>
                        <a:pt x="144" y="128"/>
                      </a:moveTo>
                      <a:cubicBezTo>
                        <a:pt x="141" y="132"/>
                        <a:pt x="138" y="135"/>
                        <a:pt x="135" y="138"/>
                      </a:cubicBezTo>
                      <a:cubicBezTo>
                        <a:pt x="113" y="162"/>
                        <a:pt x="87" y="183"/>
                        <a:pt x="59" y="200"/>
                      </a:cubicBezTo>
                      <a:cubicBezTo>
                        <a:pt x="56" y="202"/>
                        <a:pt x="54" y="203"/>
                        <a:pt x="51" y="205"/>
                      </a:cubicBezTo>
                      <a:cubicBezTo>
                        <a:pt x="49" y="199"/>
                        <a:pt x="47" y="192"/>
                        <a:pt x="45" y="185"/>
                      </a:cubicBezTo>
                      <a:cubicBezTo>
                        <a:pt x="34" y="145"/>
                        <a:pt x="19" y="96"/>
                        <a:pt x="10" y="65"/>
                      </a:cubicBezTo>
                      <a:cubicBezTo>
                        <a:pt x="10" y="64"/>
                        <a:pt x="10" y="63"/>
                        <a:pt x="9" y="63"/>
                      </a:cubicBezTo>
                      <a:cubicBezTo>
                        <a:pt x="5" y="48"/>
                        <a:pt x="2" y="37"/>
                        <a:pt x="0" y="30"/>
                      </a:cubicBezTo>
                      <a:cubicBezTo>
                        <a:pt x="1" y="30"/>
                        <a:pt x="1" y="30"/>
                        <a:pt x="1" y="30"/>
                      </a:cubicBezTo>
                      <a:cubicBezTo>
                        <a:pt x="10" y="28"/>
                        <a:pt x="10" y="28"/>
                        <a:pt x="10" y="28"/>
                      </a:cubicBezTo>
                      <a:cubicBezTo>
                        <a:pt x="53" y="15"/>
                        <a:pt x="53" y="15"/>
                        <a:pt x="53" y="15"/>
                      </a:cubicBezTo>
                      <a:cubicBezTo>
                        <a:pt x="96" y="3"/>
                        <a:pt x="96" y="3"/>
                        <a:pt x="96" y="3"/>
                      </a:cubicBezTo>
                      <a:cubicBezTo>
                        <a:pt x="106" y="0"/>
                        <a:pt x="106" y="0"/>
                        <a:pt x="106" y="0"/>
                      </a:cubicBezTo>
                      <a:cubicBezTo>
                        <a:pt x="107" y="2"/>
                        <a:pt x="108" y="5"/>
                        <a:pt x="109" y="9"/>
                      </a:cubicBezTo>
                      <a:cubicBezTo>
                        <a:pt x="111" y="16"/>
                        <a:pt x="113" y="24"/>
                        <a:pt x="116" y="33"/>
                      </a:cubicBezTo>
                      <a:cubicBezTo>
                        <a:pt x="124" y="60"/>
                        <a:pt x="134" y="95"/>
                        <a:pt x="144" y="128"/>
                      </a:cubicBezTo>
                      <a:close/>
                    </a:path>
                  </a:pathLst>
                </a:custGeom>
                <a:solidFill>
                  <a:srgbClr val="7C1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48" name="Freeform 16">
                  <a:extLst>
                    <a:ext uri="{FF2B5EF4-FFF2-40B4-BE49-F238E27FC236}">
                      <a16:creationId xmlns:a16="http://schemas.microsoft.com/office/drawing/2014/main" id="{B3B14FD6-A018-49E1-A82A-808AD1E8CAC3}"/>
                    </a:ext>
                  </a:extLst>
                </p:cNvPr>
                <p:cNvSpPr>
                  <a:spLocks/>
                </p:cNvSpPr>
                <p:nvPr/>
              </p:nvSpPr>
              <p:spPr bwMode="auto">
                <a:xfrm>
                  <a:off x="2408" y="1207"/>
                  <a:ext cx="132" cy="185"/>
                </a:xfrm>
                <a:custGeom>
                  <a:avLst/>
                  <a:gdLst>
                    <a:gd name="T0" fmla="*/ 141 w 141"/>
                    <a:gd name="T1" fmla="*/ 36 h 196"/>
                    <a:gd name="T2" fmla="*/ 140 w 141"/>
                    <a:gd name="T3" fmla="*/ 37 h 196"/>
                    <a:gd name="T4" fmla="*/ 140 w 141"/>
                    <a:gd name="T5" fmla="*/ 37 h 196"/>
                    <a:gd name="T6" fmla="*/ 131 w 141"/>
                    <a:gd name="T7" fmla="*/ 66 h 196"/>
                    <a:gd name="T8" fmla="*/ 96 w 141"/>
                    <a:gd name="T9" fmla="*/ 173 h 196"/>
                    <a:gd name="T10" fmla="*/ 89 w 141"/>
                    <a:gd name="T11" fmla="*/ 196 h 196"/>
                    <a:gd name="T12" fmla="*/ 78 w 141"/>
                    <a:gd name="T13" fmla="*/ 189 h 196"/>
                    <a:gd name="T14" fmla="*/ 6 w 141"/>
                    <a:gd name="T15" fmla="*/ 120 h 196"/>
                    <a:gd name="T16" fmla="*/ 0 w 141"/>
                    <a:gd name="T17" fmla="*/ 112 h 196"/>
                    <a:gd name="T18" fmla="*/ 36 w 141"/>
                    <a:gd name="T19" fmla="*/ 2 h 196"/>
                    <a:gd name="T20" fmla="*/ 36 w 141"/>
                    <a:gd name="T21" fmla="*/ 0 h 196"/>
                    <a:gd name="T22" fmla="*/ 46 w 141"/>
                    <a:gd name="T23" fmla="*/ 4 h 196"/>
                    <a:gd name="T24" fmla="*/ 89 w 141"/>
                    <a:gd name="T25" fmla="*/ 18 h 196"/>
                    <a:gd name="T26" fmla="*/ 89 w 141"/>
                    <a:gd name="T27" fmla="*/ 18 h 196"/>
                    <a:gd name="T28" fmla="*/ 131 w 141"/>
                    <a:gd name="T29" fmla="*/ 33 h 196"/>
                    <a:gd name="T30" fmla="*/ 141 w 141"/>
                    <a:gd name="T31" fmla="*/ 3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1" h="196">
                      <a:moveTo>
                        <a:pt x="141" y="36"/>
                      </a:moveTo>
                      <a:cubicBezTo>
                        <a:pt x="141" y="36"/>
                        <a:pt x="141" y="37"/>
                        <a:pt x="140" y="37"/>
                      </a:cubicBezTo>
                      <a:cubicBezTo>
                        <a:pt x="140" y="37"/>
                        <a:pt x="140" y="37"/>
                        <a:pt x="140" y="37"/>
                      </a:cubicBezTo>
                      <a:cubicBezTo>
                        <a:pt x="138" y="44"/>
                        <a:pt x="135" y="54"/>
                        <a:pt x="131" y="66"/>
                      </a:cubicBezTo>
                      <a:cubicBezTo>
                        <a:pt x="121" y="94"/>
                        <a:pt x="108" y="135"/>
                        <a:pt x="96" y="173"/>
                      </a:cubicBezTo>
                      <a:cubicBezTo>
                        <a:pt x="93" y="181"/>
                        <a:pt x="91" y="188"/>
                        <a:pt x="89" y="196"/>
                      </a:cubicBezTo>
                      <a:cubicBezTo>
                        <a:pt x="85" y="194"/>
                        <a:pt x="81" y="191"/>
                        <a:pt x="78" y="189"/>
                      </a:cubicBezTo>
                      <a:cubicBezTo>
                        <a:pt x="51" y="169"/>
                        <a:pt x="27" y="146"/>
                        <a:pt x="6" y="120"/>
                      </a:cubicBezTo>
                      <a:cubicBezTo>
                        <a:pt x="4" y="117"/>
                        <a:pt x="2" y="115"/>
                        <a:pt x="0" y="112"/>
                      </a:cubicBezTo>
                      <a:cubicBezTo>
                        <a:pt x="14" y="66"/>
                        <a:pt x="30" y="20"/>
                        <a:pt x="36" y="2"/>
                      </a:cubicBezTo>
                      <a:cubicBezTo>
                        <a:pt x="36" y="1"/>
                        <a:pt x="36" y="1"/>
                        <a:pt x="36" y="0"/>
                      </a:cubicBezTo>
                      <a:cubicBezTo>
                        <a:pt x="46" y="4"/>
                        <a:pt x="46" y="4"/>
                        <a:pt x="46" y="4"/>
                      </a:cubicBezTo>
                      <a:cubicBezTo>
                        <a:pt x="89" y="18"/>
                        <a:pt x="89" y="18"/>
                        <a:pt x="89" y="18"/>
                      </a:cubicBezTo>
                      <a:cubicBezTo>
                        <a:pt x="89" y="18"/>
                        <a:pt x="89" y="18"/>
                        <a:pt x="89" y="18"/>
                      </a:cubicBezTo>
                      <a:cubicBezTo>
                        <a:pt x="131" y="33"/>
                        <a:pt x="131" y="33"/>
                        <a:pt x="131" y="33"/>
                      </a:cubicBezTo>
                      <a:cubicBezTo>
                        <a:pt x="141" y="36"/>
                        <a:pt x="141" y="36"/>
                        <a:pt x="141" y="36"/>
                      </a:cubicBezTo>
                      <a:close/>
                    </a:path>
                  </a:pathLst>
                </a:custGeom>
                <a:solidFill>
                  <a:srgbClr val="7C1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49" name="Freeform 17">
                  <a:extLst>
                    <a:ext uri="{FF2B5EF4-FFF2-40B4-BE49-F238E27FC236}">
                      <a16:creationId xmlns:a16="http://schemas.microsoft.com/office/drawing/2014/main" id="{29FADCC2-3656-4E59-835F-04E4D4E9F41C}"/>
                    </a:ext>
                  </a:extLst>
                </p:cNvPr>
                <p:cNvSpPr>
                  <a:spLocks/>
                </p:cNvSpPr>
                <p:nvPr/>
              </p:nvSpPr>
              <p:spPr bwMode="auto">
                <a:xfrm>
                  <a:off x="2437" y="1170"/>
                  <a:ext cx="108" cy="110"/>
                </a:xfrm>
                <a:custGeom>
                  <a:avLst/>
                  <a:gdLst>
                    <a:gd name="T0" fmla="*/ 113 w 116"/>
                    <a:gd name="T1" fmla="*/ 53 h 116"/>
                    <a:gd name="T2" fmla="*/ 63 w 116"/>
                    <a:gd name="T3" fmla="*/ 113 h 116"/>
                    <a:gd name="T4" fmla="*/ 3 w 116"/>
                    <a:gd name="T5" fmla="*/ 63 h 116"/>
                    <a:gd name="T6" fmla="*/ 53 w 116"/>
                    <a:gd name="T7" fmla="*/ 3 h 116"/>
                    <a:gd name="T8" fmla="*/ 113 w 116"/>
                    <a:gd name="T9" fmla="*/ 53 h 116"/>
                  </a:gdLst>
                  <a:ahLst/>
                  <a:cxnLst>
                    <a:cxn ang="0">
                      <a:pos x="T0" y="T1"/>
                    </a:cxn>
                    <a:cxn ang="0">
                      <a:pos x="T2" y="T3"/>
                    </a:cxn>
                    <a:cxn ang="0">
                      <a:pos x="T4" y="T5"/>
                    </a:cxn>
                    <a:cxn ang="0">
                      <a:pos x="T6" y="T7"/>
                    </a:cxn>
                    <a:cxn ang="0">
                      <a:pos x="T8" y="T9"/>
                    </a:cxn>
                  </a:cxnLst>
                  <a:rect l="0" t="0" r="r" b="b"/>
                  <a:pathLst>
                    <a:path w="116" h="116">
                      <a:moveTo>
                        <a:pt x="113" y="53"/>
                      </a:moveTo>
                      <a:cubicBezTo>
                        <a:pt x="116" y="83"/>
                        <a:pt x="94" y="110"/>
                        <a:pt x="63" y="113"/>
                      </a:cubicBezTo>
                      <a:cubicBezTo>
                        <a:pt x="33" y="116"/>
                        <a:pt x="6" y="94"/>
                        <a:pt x="3" y="63"/>
                      </a:cubicBezTo>
                      <a:cubicBezTo>
                        <a:pt x="0" y="33"/>
                        <a:pt x="23" y="6"/>
                        <a:pt x="53" y="3"/>
                      </a:cubicBezTo>
                      <a:cubicBezTo>
                        <a:pt x="83" y="0"/>
                        <a:pt x="110" y="23"/>
                        <a:pt x="113" y="53"/>
                      </a:cubicBezTo>
                      <a:close/>
                    </a:path>
                  </a:pathLst>
                </a:custGeom>
                <a:solidFill>
                  <a:srgbClr val="7C1C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50" name="Freeform 18">
                  <a:extLst>
                    <a:ext uri="{FF2B5EF4-FFF2-40B4-BE49-F238E27FC236}">
                      <a16:creationId xmlns:a16="http://schemas.microsoft.com/office/drawing/2014/main" id="{C16E2B6F-EE1A-4E71-90C6-9F256A66F961}"/>
                    </a:ext>
                  </a:extLst>
                </p:cNvPr>
                <p:cNvSpPr>
                  <a:spLocks/>
                </p:cNvSpPr>
                <p:nvPr/>
              </p:nvSpPr>
              <p:spPr bwMode="auto">
                <a:xfrm>
                  <a:off x="2607" y="1107"/>
                  <a:ext cx="111" cy="91"/>
                </a:xfrm>
                <a:custGeom>
                  <a:avLst/>
                  <a:gdLst>
                    <a:gd name="T0" fmla="*/ 60 w 119"/>
                    <a:gd name="T1" fmla="*/ 96 h 96"/>
                    <a:gd name="T2" fmla="*/ 0 w 119"/>
                    <a:gd name="T3" fmla="*/ 42 h 96"/>
                    <a:gd name="T4" fmla="*/ 0 w 119"/>
                    <a:gd name="T5" fmla="*/ 0 h 96"/>
                    <a:gd name="T6" fmla="*/ 119 w 119"/>
                    <a:gd name="T7" fmla="*/ 0 h 96"/>
                    <a:gd name="T8" fmla="*/ 119 w 119"/>
                    <a:gd name="T9" fmla="*/ 42 h 96"/>
                    <a:gd name="T10" fmla="*/ 60 w 119"/>
                    <a:gd name="T11" fmla="*/ 96 h 96"/>
                  </a:gdLst>
                  <a:ahLst/>
                  <a:cxnLst>
                    <a:cxn ang="0">
                      <a:pos x="T0" y="T1"/>
                    </a:cxn>
                    <a:cxn ang="0">
                      <a:pos x="T2" y="T3"/>
                    </a:cxn>
                    <a:cxn ang="0">
                      <a:pos x="T4" y="T5"/>
                    </a:cxn>
                    <a:cxn ang="0">
                      <a:pos x="T6" y="T7"/>
                    </a:cxn>
                    <a:cxn ang="0">
                      <a:pos x="T8" y="T9"/>
                    </a:cxn>
                    <a:cxn ang="0">
                      <a:pos x="T10" y="T11"/>
                    </a:cxn>
                  </a:cxnLst>
                  <a:rect l="0" t="0" r="r" b="b"/>
                  <a:pathLst>
                    <a:path w="119" h="96">
                      <a:moveTo>
                        <a:pt x="60" y="96"/>
                      </a:moveTo>
                      <a:cubicBezTo>
                        <a:pt x="27" y="96"/>
                        <a:pt x="0" y="75"/>
                        <a:pt x="0" y="42"/>
                      </a:cubicBezTo>
                      <a:cubicBezTo>
                        <a:pt x="0" y="0"/>
                        <a:pt x="0" y="0"/>
                        <a:pt x="0" y="0"/>
                      </a:cubicBezTo>
                      <a:cubicBezTo>
                        <a:pt x="119" y="0"/>
                        <a:pt x="119" y="0"/>
                        <a:pt x="119" y="0"/>
                      </a:cubicBezTo>
                      <a:cubicBezTo>
                        <a:pt x="119" y="42"/>
                        <a:pt x="119" y="42"/>
                        <a:pt x="119" y="42"/>
                      </a:cubicBezTo>
                      <a:cubicBezTo>
                        <a:pt x="119" y="75"/>
                        <a:pt x="93" y="96"/>
                        <a:pt x="60" y="96"/>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51" name="Freeform 19">
                  <a:extLst>
                    <a:ext uri="{FF2B5EF4-FFF2-40B4-BE49-F238E27FC236}">
                      <a16:creationId xmlns:a16="http://schemas.microsoft.com/office/drawing/2014/main" id="{D43EA953-8253-4999-A4D3-0CE02F0E6AE1}"/>
                    </a:ext>
                  </a:extLst>
                </p:cNvPr>
                <p:cNvSpPr>
                  <a:spLocks/>
                </p:cNvSpPr>
                <p:nvPr/>
              </p:nvSpPr>
              <p:spPr bwMode="auto">
                <a:xfrm>
                  <a:off x="2636" y="1101"/>
                  <a:ext cx="52" cy="13"/>
                </a:xfrm>
                <a:custGeom>
                  <a:avLst/>
                  <a:gdLst>
                    <a:gd name="T0" fmla="*/ 28 w 56"/>
                    <a:gd name="T1" fmla="*/ 14 h 14"/>
                    <a:gd name="T2" fmla="*/ 10 w 56"/>
                    <a:gd name="T3" fmla="*/ 12 h 14"/>
                    <a:gd name="T4" fmla="*/ 4 w 56"/>
                    <a:gd name="T5" fmla="*/ 11 h 14"/>
                    <a:gd name="T6" fmla="*/ 0 w 56"/>
                    <a:gd name="T7" fmla="*/ 5 h 14"/>
                    <a:gd name="T8" fmla="*/ 7 w 56"/>
                    <a:gd name="T9" fmla="*/ 1 h 14"/>
                    <a:gd name="T10" fmla="*/ 12 w 56"/>
                    <a:gd name="T11" fmla="*/ 2 h 14"/>
                    <a:gd name="T12" fmla="*/ 44 w 56"/>
                    <a:gd name="T13" fmla="*/ 2 h 14"/>
                    <a:gd name="T14" fmla="*/ 49 w 56"/>
                    <a:gd name="T15" fmla="*/ 1 h 14"/>
                    <a:gd name="T16" fmla="*/ 56 w 56"/>
                    <a:gd name="T17" fmla="*/ 5 h 14"/>
                    <a:gd name="T18" fmla="*/ 52 w 56"/>
                    <a:gd name="T19" fmla="*/ 11 h 14"/>
                    <a:gd name="T20" fmla="*/ 46 w 56"/>
                    <a:gd name="T21" fmla="*/ 12 h 14"/>
                    <a:gd name="T22" fmla="*/ 28 w 56"/>
                    <a:gd name="T2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14">
                      <a:moveTo>
                        <a:pt x="28" y="14"/>
                      </a:moveTo>
                      <a:cubicBezTo>
                        <a:pt x="22" y="14"/>
                        <a:pt x="16" y="13"/>
                        <a:pt x="10" y="12"/>
                      </a:cubicBezTo>
                      <a:cubicBezTo>
                        <a:pt x="4" y="11"/>
                        <a:pt x="4" y="11"/>
                        <a:pt x="4" y="11"/>
                      </a:cubicBezTo>
                      <a:cubicBezTo>
                        <a:pt x="1" y="10"/>
                        <a:pt x="0" y="7"/>
                        <a:pt x="0" y="5"/>
                      </a:cubicBezTo>
                      <a:cubicBezTo>
                        <a:pt x="1" y="2"/>
                        <a:pt x="4" y="0"/>
                        <a:pt x="7" y="1"/>
                      </a:cubicBezTo>
                      <a:cubicBezTo>
                        <a:pt x="12" y="2"/>
                        <a:pt x="12" y="2"/>
                        <a:pt x="12" y="2"/>
                      </a:cubicBezTo>
                      <a:cubicBezTo>
                        <a:pt x="23" y="4"/>
                        <a:pt x="33" y="4"/>
                        <a:pt x="44" y="2"/>
                      </a:cubicBezTo>
                      <a:cubicBezTo>
                        <a:pt x="49" y="1"/>
                        <a:pt x="49" y="1"/>
                        <a:pt x="49" y="1"/>
                      </a:cubicBezTo>
                      <a:cubicBezTo>
                        <a:pt x="52" y="0"/>
                        <a:pt x="55" y="2"/>
                        <a:pt x="56" y="5"/>
                      </a:cubicBezTo>
                      <a:cubicBezTo>
                        <a:pt x="56" y="7"/>
                        <a:pt x="55" y="10"/>
                        <a:pt x="52" y="11"/>
                      </a:cubicBezTo>
                      <a:cubicBezTo>
                        <a:pt x="46" y="12"/>
                        <a:pt x="46" y="12"/>
                        <a:pt x="46" y="12"/>
                      </a:cubicBezTo>
                      <a:cubicBezTo>
                        <a:pt x="40" y="13"/>
                        <a:pt x="34" y="14"/>
                        <a:pt x="28" y="14"/>
                      </a:cubicBezTo>
                      <a:close/>
                    </a:path>
                  </a:pathLst>
                </a:custGeom>
                <a:solidFill>
                  <a:srgbClr val="C98B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52" name="Freeform 20">
                  <a:extLst>
                    <a:ext uri="{FF2B5EF4-FFF2-40B4-BE49-F238E27FC236}">
                      <a16:creationId xmlns:a16="http://schemas.microsoft.com/office/drawing/2014/main" id="{22E062A1-DEC7-45A4-9767-D0A85A57EB64}"/>
                    </a:ext>
                  </a:extLst>
                </p:cNvPr>
                <p:cNvSpPr>
                  <a:spLocks/>
                </p:cNvSpPr>
                <p:nvPr/>
              </p:nvSpPr>
              <p:spPr bwMode="auto">
                <a:xfrm>
                  <a:off x="2552" y="814"/>
                  <a:ext cx="242" cy="220"/>
                </a:xfrm>
                <a:custGeom>
                  <a:avLst/>
                  <a:gdLst>
                    <a:gd name="T0" fmla="*/ 226 w 259"/>
                    <a:gd name="T1" fmla="*/ 152 h 233"/>
                    <a:gd name="T2" fmla="*/ 221 w 259"/>
                    <a:gd name="T3" fmla="*/ 153 h 233"/>
                    <a:gd name="T4" fmla="*/ 221 w 259"/>
                    <a:gd name="T5" fmla="*/ 233 h 233"/>
                    <a:gd name="T6" fmla="*/ 205 w 259"/>
                    <a:gd name="T7" fmla="*/ 233 h 233"/>
                    <a:gd name="T8" fmla="*/ 200 w 259"/>
                    <a:gd name="T9" fmla="*/ 144 h 233"/>
                    <a:gd name="T10" fmla="*/ 156 w 259"/>
                    <a:gd name="T11" fmla="*/ 92 h 233"/>
                    <a:gd name="T12" fmla="*/ 33 w 259"/>
                    <a:gd name="T13" fmla="*/ 146 h 233"/>
                    <a:gd name="T14" fmla="*/ 34 w 259"/>
                    <a:gd name="T15" fmla="*/ 230 h 233"/>
                    <a:gd name="T16" fmla="*/ 17 w 259"/>
                    <a:gd name="T17" fmla="*/ 233 h 233"/>
                    <a:gd name="T18" fmla="*/ 17 w 259"/>
                    <a:gd name="T19" fmla="*/ 147 h 233"/>
                    <a:gd name="T20" fmla="*/ 8 w 259"/>
                    <a:gd name="T21" fmla="*/ 139 h 233"/>
                    <a:gd name="T22" fmla="*/ 143 w 259"/>
                    <a:gd name="T23" fmla="*/ 32 h 233"/>
                    <a:gd name="T24" fmla="*/ 146 w 259"/>
                    <a:gd name="T25" fmla="*/ 33 h 233"/>
                    <a:gd name="T26" fmla="*/ 151 w 259"/>
                    <a:gd name="T27" fmla="*/ 33 h 233"/>
                    <a:gd name="T28" fmla="*/ 226 w 259"/>
                    <a:gd name="T29" fmla="*/ 152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9" h="233">
                      <a:moveTo>
                        <a:pt x="226" y="152"/>
                      </a:moveTo>
                      <a:cubicBezTo>
                        <a:pt x="225" y="153"/>
                        <a:pt x="223" y="154"/>
                        <a:pt x="221" y="153"/>
                      </a:cubicBezTo>
                      <a:cubicBezTo>
                        <a:pt x="221" y="233"/>
                        <a:pt x="221" y="233"/>
                        <a:pt x="221" y="233"/>
                      </a:cubicBezTo>
                      <a:cubicBezTo>
                        <a:pt x="205" y="233"/>
                        <a:pt x="205" y="233"/>
                        <a:pt x="205" y="233"/>
                      </a:cubicBezTo>
                      <a:cubicBezTo>
                        <a:pt x="200" y="144"/>
                        <a:pt x="200" y="144"/>
                        <a:pt x="200" y="144"/>
                      </a:cubicBezTo>
                      <a:cubicBezTo>
                        <a:pt x="185" y="133"/>
                        <a:pt x="172" y="112"/>
                        <a:pt x="156" y="92"/>
                      </a:cubicBezTo>
                      <a:cubicBezTo>
                        <a:pt x="123" y="114"/>
                        <a:pt x="65" y="141"/>
                        <a:pt x="33" y="146"/>
                      </a:cubicBezTo>
                      <a:cubicBezTo>
                        <a:pt x="34" y="230"/>
                        <a:pt x="34" y="230"/>
                        <a:pt x="34" y="230"/>
                      </a:cubicBezTo>
                      <a:cubicBezTo>
                        <a:pt x="17" y="233"/>
                        <a:pt x="17" y="233"/>
                        <a:pt x="17" y="233"/>
                      </a:cubicBezTo>
                      <a:cubicBezTo>
                        <a:pt x="17" y="147"/>
                        <a:pt x="17" y="147"/>
                        <a:pt x="17" y="147"/>
                      </a:cubicBezTo>
                      <a:cubicBezTo>
                        <a:pt x="12" y="146"/>
                        <a:pt x="8" y="143"/>
                        <a:pt x="8" y="139"/>
                      </a:cubicBezTo>
                      <a:cubicBezTo>
                        <a:pt x="0" y="64"/>
                        <a:pt x="72" y="0"/>
                        <a:pt x="143" y="32"/>
                      </a:cubicBezTo>
                      <a:cubicBezTo>
                        <a:pt x="144" y="32"/>
                        <a:pt x="145" y="33"/>
                        <a:pt x="146" y="33"/>
                      </a:cubicBezTo>
                      <a:cubicBezTo>
                        <a:pt x="148" y="33"/>
                        <a:pt x="150" y="33"/>
                        <a:pt x="151" y="33"/>
                      </a:cubicBezTo>
                      <a:cubicBezTo>
                        <a:pt x="221" y="35"/>
                        <a:pt x="259" y="109"/>
                        <a:pt x="226" y="1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53" name="Freeform 21">
                  <a:extLst>
                    <a:ext uri="{FF2B5EF4-FFF2-40B4-BE49-F238E27FC236}">
                      <a16:creationId xmlns:a16="http://schemas.microsoft.com/office/drawing/2014/main" id="{CDCDFB0B-56FE-470A-967D-F6B833D0E5AD}"/>
                    </a:ext>
                  </a:extLst>
                </p:cNvPr>
                <p:cNvSpPr>
                  <a:spLocks noEditPoints="1"/>
                </p:cNvSpPr>
                <p:nvPr/>
              </p:nvSpPr>
              <p:spPr bwMode="auto">
                <a:xfrm>
                  <a:off x="2611" y="1066"/>
                  <a:ext cx="103" cy="94"/>
                </a:xfrm>
                <a:custGeom>
                  <a:avLst/>
                  <a:gdLst>
                    <a:gd name="T0" fmla="*/ 109 w 111"/>
                    <a:gd name="T1" fmla="*/ 43 h 99"/>
                    <a:gd name="T2" fmla="*/ 55 w 111"/>
                    <a:gd name="T3" fmla="*/ 0 h 99"/>
                    <a:gd name="T4" fmla="*/ 1 w 111"/>
                    <a:gd name="T5" fmla="*/ 43 h 99"/>
                    <a:gd name="T6" fmla="*/ 0 w 111"/>
                    <a:gd name="T7" fmla="*/ 55 h 99"/>
                    <a:gd name="T8" fmla="*/ 0 w 111"/>
                    <a:gd name="T9" fmla="*/ 86 h 99"/>
                    <a:gd name="T10" fmla="*/ 0 w 111"/>
                    <a:gd name="T11" fmla="*/ 90 h 99"/>
                    <a:gd name="T12" fmla="*/ 54 w 111"/>
                    <a:gd name="T13" fmla="*/ 98 h 99"/>
                    <a:gd name="T14" fmla="*/ 56 w 111"/>
                    <a:gd name="T15" fmla="*/ 99 h 99"/>
                    <a:gd name="T16" fmla="*/ 66 w 111"/>
                    <a:gd name="T17" fmla="*/ 98 h 99"/>
                    <a:gd name="T18" fmla="*/ 110 w 111"/>
                    <a:gd name="T19" fmla="*/ 91 h 99"/>
                    <a:gd name="T20" fmla="*/ 111 w 111"/>
                    <a:gd name="T21" fmla="*/ 86 h 99"/>
                    <a:gd name="T22" fmla="*/ 111 w 111"/>
                    <a:gd name="T23" fmla="*/ 55 h 99"/>
                    <a:gd name="T24" fmla="*/ 109 w 111"/>
                    <a:gd name="T25" fmla="*/ 43 h 99"/>
                    <a:gd name="T26" fmla="*/ 55 w 111"/>
                    <a:gd name="T27" fmla="*/ 34 h 99"/>
                    <a:gd name="T28" fmla="*/ 87 w 111"/>
                    <a:gd name="T29" fmla="*/ 43 h 99"/>
                    <a:gd name="T30" fmla="*/ 89 w 111"/>
                    <a:gd name="T31" fmla="*/ 53 h 99"/>
                    <a:gd name="T32" fmla="*/ 89 w 111"/>
                    <a:gd name="T33" fmla="*/ 64 h 99"/>
                    <a:gd name="T34" fmla="*/ 64 w 111"/>
                    <a:gd name="T35" fmla="*/ 68 h 99"/>
                    <a:gd name="T36" fmla="*/ 64 w 111"/>
                    <a:gd name="T37" fmla="*/ 52 h 99"/>
                    <a:gd name="T38" fmla="*/ 47 w 111"/>
                    <a:gd name="T39" fmla="*/ 52 h 99"/>
                    <a:gd name="T40" fmla="*/ 47 w 111"/>
                    <a:gd name="T41" fmla="*/ 68 h 99"/>
                    <a:gd name="T42" fmla="*/ 22 w 111"/>
                    <a:gd name="T43" fmla="*/ 64 h 99"/>
                    <a:gd name="T44" fmla="*/ 22 w 111"/>
                    <a:gd name="T45" fmla="*/ 53 h 99"/>
                    <a:gd name="T46" fmla="*/ 24 w 111"/>
                    <a:gd name="T47" fmla="*/ 43 h 99"/>
                    <a:gd name="T48" fmla="*/ 55 w 111"/>
                    <a:gd name="T49" fmla="*/ 3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1" h="99">
                      <a:moveTo>
                        <a:pt x="109" y="43"/>
                      </a:moveTo>
                      <a:cubicBezTo>
                        <a:pt x="104" y="18"/>
                        <a:pt x="82" y="0"/>
                        <a:pt x="55" y="0"/>
                      </a:cubicBezTo>
                      <a:cubicBezTo>
                        <a:pt x="29" y="0"/>
                        <a:pt x="7" y="18"/>
                        <a:pt x="1" y="43"/>
                      </a:cubicBezTo>
                      <a:cubicBezTo>
                        <a:pt x="1" y="47"/>
                        <a:pt x="0" y="51"/>
                        <a:pt x="0" y="55"/>
                      </a:cubicBezTo>
                      <a:cubicBezTo>
                        <a:pt x="0" y="86"/>
                        <a:pt x="0" y="86"/>
                        <a:pt x="0" y="86"/>
                      </a:cubicBezTo>
                      <a:cubicBezTo>
                        <a:pt x="0" y="88"/>
                        <a:pt x="0" y="89"/>
                        <a:pt x="0" y="90"/>
                      </a:cubicBezTo>
                      <a:cubicBezTo>
                        <a:pt x="17" y="95"/>
                        <a:pt x="35" y="98"/>
                        <a:pt x="54" y="98"/>
                      </a:cubicBezTo>
                      <a:cubicBezTo>
                        <a:pt x="54" y="99"/>
                        <a:pt x="55" y="99"/>
                        <a:pt x="56" y="99"/>
                      </a:cubicBezTo>
                      <a:cubicBezTo>
                        <a:pt x="59" y="99"/>
                        <a:pt x="63" y="98"/>
                        <a:pt x="66" y="98"/>
                      </a:cubicBezTo>
                      <a:cubicBezTo>
                        <a:pt x="82" y="97"/>
                        <a:pt x="96" y="95"/>
                        <a:pt x="110" y="91"/>
                      </a:cubicBezTo>
                      <a:cubicBezTo>
                        <a:pt x="110" y="89"/>
                        <a:pt x="111" y="88"/>
                        <a:pt x="111" y="86"/>
                      </a:cubicBezTo>
                      <a:cubicBezTo>
                        <a:pt x="111" y="55"/>
                        <a:pt x="111" y="55"/>
                        <a:pt x="111" y="55"/>
                      </a:cubicBezTo>
                      <a:cubicBezTo>
                        <a:pt x="111" y="51"/>
                        <a:pt x="110" y="47"/>
                        <a:pt x="109" y="43"/>
                      </a:cubicBezTo>
                      <a:close/>
                      <a:moveTo>
                        <a:pt x="55" y="34"/>
                      </a:moveTo>
                      <a:cubicBezTo>
                        <a:pt x="70" y="34"/>
                        <a:pt x="82" y="34"/>
                        <a:pt x="87" y="43"/>
                      </a:cubicBezTo>
                      <a:cubicBezTo>
                        <a:pt x="88" y="45"/>
                        <a:pt x="89" y="49"/>
                        <a:pt x="89" y="53"/>
                      </a:cubicBezTo>
                      <a:cubicBezTo>
                        <a:pt x="89" y="53"/>
                        <a:pt x="89" y="63"/>
                        <a:pt x="89" y="64"/>
                      </a:cubicBezTo>
                      <a:cubicBezTo>
                        <a:pt x="81" y="66"/>
                        <a:pt x="73" y="68"/>
                        <a:pt x="64" y="68"/>
                      </a:cubicBezTo>
                      <a:cubicBezTo>
                        <a:pt x="64" y="52"/>
                        <a:pt x="64" y="52"/>
                        <a:pt x="64" y="52"/>
                      </a:cubicBezTo>
                      <a:cubicBezTo>
                        <a:pt x="47" y="52"/>
                        <a:pt x="47" y="52"/>
                        <a:pt x="47" y="52"/>
                      </a:cubicBezTo>
                      <a:cubicBezTo>
                        <a:pt x="47" y="68"/>
                        <a:pt x="47" y="68"/>
                        <a:pt x="47" y="68"/>
                      </a:cubicBezTo>
                      <a:cubicBezTo>
                        <a:pt x="38" y="68"/>
                        <a:pt x="30" y="66"/>
                        <a:pt x="22" y="64"/>
                      </a:cubicBezTo>
                      <a:cubicBezTo>
                        <a:pt x="22" y="63"/>
                        <a:pt x="22" y="53"/>
                        <a:pt x="22" y="53"/>
                      </a:cubicBezTo>
                      <a:cubicBezTo>
                        <a:pt x="22" y="49"/>
                        <a:pt x="23" y="45"/>
                        <a:pt x="24" y="43"/>
                      </a:cubicBezTo>
                      <a:cubicBezTo>
                        <a:pt x="29" y="34"/>
                        <a:pt x="41" y="34"/>
                        <a:pt x="55" y="3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54" name="Freeform 22">
                  <a:extLst>
                    <a:ext uri="{FF2B5EF4-FFF2-40B4-BE49-F238E27FC236}">
                      <a16:creationId xmlns:a16="http://schemas.microsoft.com/office/drawing/2014/main" id="{87DE042E-D658-4A81-A704-954C98E5CD0A}"/>
                    </a:ext>
                  </a:extLst>
                </p:cNvPr>
                <p:cNvSpPr>
                  <a:spLocks/>
                </p:cNvSpPr>
                <p:nvPr/>
              </p:nvSpPr>
              <p:spPr bwMode="auto">
                <a:xfrm>
                  <a:off x="2606" y="986"/>
                  <a:ext cx="43" cy="9"/>
                </a:xfrm>
                <a:custGeom>
                  <a:avLst/>
                  <a:gdLst>
                    <a:gd name="T0" fmla="*/ 2 w 46"/>
                    <a:gd name="T1" fmla="*/ 10 h 10"/>
                    <a:gd name="T2" fmla="*/ 1 w 46"/>
                    <a:gd name="T3" fmla="*/ 9 h 10"/>
                    <a:gd name="T4" fmla="*/ 1 w 46"/>
                    <a:gd name="T5" fmla="*/ 7 h 10"/>
                    <a:gd name="T6" fmla="*/ 7 w 46"/>
                    <a:gd name="T7" fmla="*/ 4 h 10"/>
                    <a:gd name="T8" fmla="*/ 23 w 46"/>
                    <a:gd name="T9" fmla="*/ 1 h 10"/>
                    <a:gd name="T10" fmla="*/ 44 w 46"/>
                    <a:gd name="T11" fmla="*/ 6 h 10"/>
                    <a:gd name="T12" fmla="*/ 46 w 46"/>
                    <a:gd name="T13" fmla="*/ 8 h 10"/>
                    <a:gd name="T14" fmla="*/ 44 w 46"/>
                    <a:gd name="T15" fmla="*/ 9 h 10"/>
                    <a:gd name="T16" fmla="*/ 22 w 46"/>
                    <a:gd name="T17" fmla="*/ 4 h 10"/>
                    <a:gd name="T18" fmla="*/ 8 w 46"/>
                    <a:gd name="T19" fmla="*/ 7 h 10"/>
                    <a:gd name="T20" fmla="*/ 3 w 46"/>
                    <a:gd name="T21" fmla="*/ 10 h 10"/>
                    <a:gd name="T22" fmla="*/ 2 w 46"/>
                    <a:gd name="T2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0">
                      <a:moveTo>
                        <a:pt x="2" y="10"/>
                      </a:moveTo>
                      <a:cubicBezTo>
                        <a:pt x="2" y="10"/>
                        <a:pt x="1" y="10"/>
                        <a:pt x="1" y="9"/>
                      </a:cubicBezTo>
                      <a:cubicBezTo>
                        <a:pt x="0" y="8"/>
                        <a:pt x="0" y="7"/>
                        <a:pt x="1" y="7"/>
                      </a:cubicBezTo>
                      <a:cubicBezTo>
                        <a:pt x="7" y="4"/>
                        <a:pt x="7" y="4"/>
                        <a:pt x="7" y="4"/>
                      </a:cubicBezTo>
                      <a:cubicBezTo>
                        <a:pt x="12" y="1"/>
                        <a:pt x="17" y="0"/>
                        <a:pt x="23" y="1"/>
                      </a:cubicBezTo>
                      <a:cubicBezTo>
                        <a:pt x="44" y="6"/>
                        <a:pt x="44" y="6"/>
                        <a:pt x="44" y="6"/>
                      </a:cubicBezTo>
                      <a:cubicBezTo>
                        <a:pt x="45" y="6"/>
                        <a:pt x="46" y="7"/>
                        <a:pt x="46" y="8"/>
                      </a:cubicBezTo>
                      <a:cubicBezTo>
                        <a:pt x="46" y="9"/>
                        <a:pt x="45" y="10"/>
                        <a:pt x="44" y="9"/>
                      </a:cubicBezTo>
                      <a:cubicBezTo>
                        <a:pt x="22" y="4"/>
                        <a:pt x="22" y="4"/>
                        <a:pt x="22" y="4"/>
                      </a:cubicBezTo>
                      <a:cubicBezTo>
                        <a:pt x="17" y="3"/>
                        <a:pt x="13" y="4"/>
                        <a:pt x="8" y="7"/>
                      </a:cubicBezTo>
                      <a:cubicBezTo>
                        <a:pt x="3" y="10"/>
                        <a:pt x="3" y="10"/>
                        <a:pt x="3" y="10"/>
                      </a:cubicBezTo>
                      <a:cubicBezTo>
                        <a:pt x="3" y="10"/>
                        <a:pt x="2" y="10"/>
                        <a:pt x="2"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55" name="Freeform 24">
                  <a:extLst>
                    <a:ext uri="{FF2B5EF4-FFF2-40B4-BE49-F238E27FC236}">
                      <a16:creationId xmlns:a16="http://schemas.microsoft.com/office/drawing/2014/main" id="{4E342C27-343C-4C5B-8F41-C84DB4050034}"/>
                    </a:ext>
                  </a:extLst>
                </p:cNvPr>
                <p:cNvSpPr>
                  <a:spLocks/>
                </p:cNvSpPr>
                <p:nvPr/>
              </p:nvSpPr>
              <p:spPr bwMode="auto">
                <a:xfrm>
                  <a:off x="2626" y="997"/>
                  <a:ext cx="15" cy="14"/>
                </a:xfrm>
                <a:custGeom>
                  <a:avLst/>
                  <a:gdLst>
                    <a:gd name="T0" fmla="*/ 3 w 16"/>
                    <a:gd name="T1" fmla="*/ 13 h 15"/>
                    <a:gd name="T2" fmla="*/ 3 w 16"/>
                    <a:gd name="T3" fmla="*/ 3 h 15"/>
                    <a:gd name="T4" fmla="*/ 13 w 16"/>
                    <a:gd name="T5" fmla="*/ 3 h 15"/>
                    <a:gd name="T6" fmla="*/ 13 w 16"/>
                    <a:gd name="T7" fmla="*/ 13 h 15"/>
                    <a:gd name="T8" fmla="*/ 3 w 16"/>
                    <a:gd name="T9" fmla="*/ 13 h 15"/>
                  </a:gdLst>
                  <a:ahLst/>
                  <a:cxnLst>
                    <a:cxn ang="0">
                      <a:pos x="T0" y="T1"/>
                    </a:cxn>
                    <a:cxn ang="0">
                      <a:pos x="T2" y="T3"/>
                    </a:cxn>
                    <a:cxn ang="0">
                      <a:pos x="T4" y="T5"/>
                    </a:cxn>
                    <a:cxn ang="0">
                      <a:pos x="T6" y="T7"/>
                    </a:cxn>
                    <a:cxn ang="0">
                      <a:pos x="T8" y="T9"/>
                    </a:cxn>
                  </a:cxnLst>
                  <a:rect l="0" t="0" r="r" b="b"/>
                  <a:pathLst>
                    <a:path w="16" h="15">
                      <a:moveTo>
                        <a:pt x="3" y="13"/>
                      </a:moveTo>
                      <a:cubicBezTo>
                        <a:pt x="0" y="10"/>
                        <a:pt x="0" y="5"/>
                        <a:pt x="3" y="3"/>
                      </a:cubicBezTo>
                      <a:cubicBezTo>
                        <a:pt x="6" y="0"/>
                        <a:pt x="10" y="0"/>
                        <a:pt x="13" y="3"/>
                      </a:cubicBezTo>
                      <a:cubicBezTo>
                        <a:pt x="16" y="5"/>
                        <a:pt x="16" y="10"/>
                        <a:pt x="13" y="13"/>
                      </a:cubicBezTo>
                      <a:cubicBezTo>
                        <a:pt x="10" y="15"/>
                        <a:pt x="6" y="15"/>
                        <a:pt x="3"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56" name="Freeform 25">
                  <a:extLst>
                    <a:ext uri="{FF2B5EF4-FFF2-40B4-BE49-F238E27FC236}">
                      <a16:creationId xmlns:a16="http://schemas.microsoft.com/office/drawing/2014/main" id="{162524E6-38C1-4D3B-A082-A6731A8265C0}"/>
                    </a:ext>
                  </a:extLst>
                </p:cNvPr>
                <p:cNvSpPr>
                  <a:spLocks/>
                </p:cNvSpPr>
                <p:nvPr/>
              </p:nvSpPr>
              <p:spPr bwMode="auto">
                <a:xfrm>
                  <a:off x="2683" y="994"/>
                  <a:ext cx="14" cy="14"/>
                </a:xfrm>
                <a:custGeom>
                  <a:avLst/>
                  <a:gdLst>
                    <a:gd name="T0" fmla="*/ 3 w 15"/>
                    <a:gd name="T1" fmla="*/ 12 h 15"/>
                    <a:gd name="T2" fmla="*/ 3 w 15"/>
                    <a:gd name="T3" fmla="*/ 3 h 15"/>
                    <a:gd name="T4" fmla="*/ 13 w 15"/>
                    <a:gd name="T5" fmla="*/ 3 h 15"/>
                    <a:gd name="T6" fmla="*/ 13 w 15"/>
                    <a:gd name="T7" fmla="*/ 12 h 15"/>
                    <a:gd name="T8" fmla="*/ 3 w 15"/>
                    <a:gd name="T9" fmla="*/ 12 h 15"/>
                  </a:gdLst>
                  <a:ahLst/>
                  <a:cxnLst>
                    <a:cxn ang="0">
                      <a:pos x="T0" y="T1"/>
                    </a:cxn>
                    <a:cxn ang="0">
                      <a:pos x="T2" y="T3"/>
                    </a:cxn>
                    <a:cxn ang="0">
                      <a:pos x="T4" y="T5"/>
                    </a:cxn>
                    <a:cxn ang="0">
                      <a:pos x="T6" y="T7"/>
                    </a:cxn>
                    <a:cxn ang="0">
                      <a:pos x="T8" y="T9"/>
                    </a:cxn>
                  </a:cxnLst>
                  <a:rect l="0" t="0" r="r" b="b"/>
                  <a:pathLst>
                    <a:path w="15" h="15">
                      <a:moveTo>
                        <a:pt x="3" y="12"/>
                      </a:moveTo>
                      <a:cubicBezTo>
                        <a:pt x="0" y="10"/>
                        <a:pt x="0" y="5"/>
                        <a:pt x="3" y="3"/>
                      </a:cubicBezTo>
                      <a:cubicBezTo>
                        <a:pt x="5" y="0"/>
                        <a:pt x="10" y="0"/>
                        <a:pt x="13" y="3"/>
                      </a:cubicBezTo>
                      <a:cubicBezTo>
                        <a:pt x="15" y="5"/>
                        <a:pt x="15" y="10"/>
                        <a:pt x="13" y="12"/>
                      </a:cubicBezTo>
                      <a:cubicBezTo>
                        <a:pt x="10" y="15"/>
                        <a:pt x="5" y="15"/>
                        <a:pt x="3"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57" name="Freeform 26">
                  <a:extLst>
                    <a:ext uri="{FF2B5EF4-FFF2-40B4-BE49-F238E27FC236}">
                      <a16:creationId xmlns:a16="http://schemas.microsoft.com/office/drawing/2014/main" id="{5E04B166-9C6D-4535-86DD-3BC931C52C3E}"/>
                    </a:ext>
                  </a:extLst>
                </p:cNvPr>
                <p:cNvSpPr>
                  <a:spLocks/>
                </p:cNvSpPr>
                <p:nvPr/>
              </p:nvSpPr>
              <p:spPr bwMode="auto">
                <a:xfrm>
                  <a:off x="2664" y="1052"/>
                  <a:ext cx="25" cy="13"/>
                </a:xfrm>
                <a:custGeom>
                  <a:avLst/>
                  <a:gdLst>
                    <a:gd name="T0" fmla="*/ 0 w 27"/>
                    <a:gd name="T1" fmla="*/ 0 h 14"/>
                    <a:gd name="T2" fmla="*/ 0 w 27"/>
                    <a:gd name="T3" fmla="*/ 14 h 14"/>
                    <a:gd name="T4" fmla="*/ 8 w 27"/>
                    <a:gd name="T5" fmla="*/ 11 h 14"/>
                    <a:gd name="T6" fmla="*/ 21 w 27"/>
                    <a:gd name="T7" fmla="*/ 7 h 14"/>
                    <a:gd name="T8" fmla="*/ 27 w 27"/>
                    <a:gd name="T9" fmla="*/ 0 h 14"/>
                    <a:gd name="T10" fmla="*/ 0 w 27"/>
                    <a:gd name="T11" fmla="*/ 0 h 14"/>
                  </a:gdLst>
                  <a:ahLst/>
                  <a:cxnLst>
                    <a:cxn ang="0">
                      <a:pos x="T0" y="T1"/>
                    </a:cxn>
                    <a:cxn ang="0">
                      <a:pos x="T2" y="T3"/>
                    </a:cxn>
                    <a:cxn ang="0">
                      <a:pos x="T4" y="T5"/>
                    </a:cxn>
                    <a:cxn ang="0">
                      <a:pos x="T6" y="T7"/>
                    </a:cxn>
                    <a:cxn ang="0">
                      <a:pos x="T8" y="T9"/>
                    </a:cxn>
                    <a:cxn ang="0">
                      <a:pos x="T10" y="T11"/>
                    </a:cxn>
                  </a:cxnLst>
                  <a:rect l="0" t="0" r="r" b="b"/>
                  <a:pathLst>
                    <a:path w="27" h="14">
                      <a:moveTo>
                        <a:pt x="0" y="0"/>
                      </a:moveTo>
                      <a:cubicBezTo>
                        <a:pt x="0" y="14"/>
                        <a:pt x="0" y="14"/>
                        <a:pt x="0" y="14"/>
                      </a:cubicBezTo>
                      <a:cubicBezTo>
                        <a:pt x="2" y="14"/>
                        <a:pt x="5" y="13"/>
                        <a:pt x="8" y="11"/>
                      </a:cubicBezTo>
                      <a:cubicBezTo>
                        <a:pt x="10" y="8"/>
                        <a:pt x="15" y="7"/>
                        <a:pt x="21" y="7"/>
                      </a:cubicBezTo>
                      <a:cubicBezTo>
                        <a:pt x="24" y="7"/>
                        <a:pt x="27" y="4"/>
                        <a:pt x="27" y="0"/>
                      </a:cubicBezTo>
                      <a:lnTo>
                        <a:pt x="0"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58" name="Freeform 27">
                  <a:extLst>
                    <a:ext uri="{FF2B5EF4-FFF2-40B4-BE49-F238E27FC236}">
                      <a16:creationId xmlns:a16="http://schemas.microsoft.com/office/drawing/2014/main" id="{0E175C94-6096-4FA1-8FFE-A0A408DBDEE6}"/>
                    </a:ext>
                  </a:extLst>
                </p:cNvPr>
                <p:cNvSpPr>
                  <a:spLocks/>
                </p:cNvSpPr>
                <p:nvPr/>
              </p:nvSpPr>
              <p:spPr bwMode="auto">
                <a:xfrm>
                  <a:off x="2638" y="1052"/>
                  <a:ext cx="26" cy="13"/>
                </a:xfrm>
                <a:custGeom>
                  <a:avLst/>
                  <a:gdLst>
                    <a:gd name="T0" fmla="*/ 28 w 28"/>
                    <a:gd name="T1" fmla="*/ 0 h 14"/>
                    <a:gd name="T2" fmla="*/ 28 w 28"/>
                    <a:gd name="T3" fmla="*/ 14 h 14"/>
                    <a:gd name="T4" fmla="*/ 20 w 28"/>
                    <a:gd name="T5" fmla="*/ 11 h 14"/>
                    <a:gd name="T6" fmla="*/ 6 w 28"/>
                    <a:gd name="T7" fmla="*/ 7 h 14"/>
                    <a:gd name="T8" fmla="*/ 0 w 28"/>
                    <a:gd name="T9" fmla="*/ 0 h 14"/>
                    <a:gd name="T10" fmla="*/ 28 w 28"/>
                    <a:gd name="T11" fmla="*/ 0 h 14"/>
                  </a:gdLst>
                  <a:ahLst/>
                  <a:cxnLst>
                    <a:cxn ang="0">
                      <a:pos x="T0" y="T1"/>
                    </a:cxn>
                    <a:cxn ang="0">
                      <a:pos x="T2" y="T3"/>
                    </a:cxn>
                    <a:cxn ang="0">
                      <a:pos x="T4" y="T5"/>
                    </a:cxn>
                    <a:cxn ang="0">
                      <a:pos x="T6" y="T7"/>
                    </a:cxn>
                    <a:cxn ang="0">
                      <a:pos x="T8" y="T9"/>
                    </a:cxn>
                    <a:cxn ang="0">
                      <a:pos x="T10" y="T11"/>
                    </a:cxn>
                  </a:cxnLst>
                  <a:rect l="0" t="0" r="r" b="b"/>
                  <a:pathLst>
                    <a:path w="28" h="14">
                      <a:moveTo>
                        <a:pt x="28" y="0"/>
                      </a:moveTo>
                      <a:cubicBezTo>
                        <a:pt x="28" y="14"/>
                        <a:pt x="28" y="14"/>
                        <a:pt x="28" y="14"/>
                      </a:cubicBezTo>
                      <a:cubicBezTo>
                        <a:pt x="25" y="14"/>
                        <a:pt x="22" y="13"/>
                        <a:pt x="20" y="11"/>
                      </a:cubicBezTo>
                      <a:cubicBezTo>
                        <a:pt x="17" y="8"/>
                        <a:pt x="12" y="7"/>
                        <a:pt x="6" y="7"/>
                      </a:cubicBezTo>
                      <a:cubicBezTo>
                        <a:pt x="3" y="7"/>
                        <a:pt x="0" y="4"/>
                        <a:pt x="0" y="0"/>
                      </a:cubicBezTo>
                      <a:lnTo>
                        <a:pt x="28" y="0"/>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59" name="Freeform 28">
                  <a:extLst>
                    <a:ext uri="{FF2B5EF4-FFF2-40B4-BE49-F238E27FC236}">
                      <a16:creationId xmlns:a16="http://schemas.microsoft.com/office/drawing/2014/main" id="{53618A7C-22A0-45A6-B39E-0D1450CCD1F8}"/>
                    </a:ext>
                  </a:extLst>
                </p:cNvPr>
                <p:cNvSpPr>
                  <a:spLocks/>
                </p:cNvSpPr>
                <p:nvPr/>
              </p:nvSpPr>
              <p:spPr bwMode="auto">
                <a:xfrm>
                  <a:off x="2638" y="1005"/>
                  <a:ext cx="26" cy="47"/>
                </a:xfrm>
                <a:custGeom>
                  <a:avLst/>
                  <a:gdLst>
                    <a:gd name="T0" fmla="*/ 28 w 28"/>
                    <a:gd name="T1" fmla="*/ 0 h 50"/>
                    <a:gd name="T2" fmla="*/ 28 w 28"/>
                    <a:gd name="T3" fmla="*/ 50 h 50"/>
                    <a:gd name="T4" fmla="*/ 0 w 28"/>
                    <a:gd name="T5" fmla="*/ 50 h 50"/>
                    <a:gd name="T6" fmla="*/ 6 w 28"/>
                    <a:gd name="T7" fmla="*/ 43 h 50"/>
                    <a:gd name="T8" fmla="*/ 7 w 28"/>
                    <a:gd name="T9" fmla="*/ 43 h 50"/>
                    <a:gd name="T10" fmla="*/ 17 w 28"/>
                    <a:gd name="T11" fmla="*/ 10 h 50"/>
                    <a:gd name="T12" fmla="*/ 28 w 28"/>
                    <a:gd name="T13" fmla="*/ 0 h 50"/>
                  </a:gdLst>
                  <a:ahLst/>
                  <a:cxnLst>
                    <a:cxn ang="0">
                      <a:pos x="T0" y="T1"/>
                    </a:cxn>
                    <a:cxn ang="0">
                      <a:pos x="T2" y="T3"/>
                    </a:cxn>
                    <a:cxn ang="0">
                      <a:pos x="T4" y="T5"/>
                    </a:cxn>
                    <a:cxn ang="0">
                      <a:pos x="T6" y="T7"/>
                    </a:cxn>
                    <a:cxn ang="0">
                      <a:pos x="T8" y="T9"/>
                    </a:cxn>
                    <a:cxn ang="0">
                      <a:pos x="T10" y="T11"/>
                    </a:cxn>
                    <a:cxn ang="0">
                      <a:pos x="T12" y="T13"/>
                    </a:cxn>
                  </a:cxnLst>
                  <a:rect l="0" t="0" r="r" b="b"/>
                  <a:pathLst>
                    <a:path w="28" h="50">
                      <a:moveTo>
                        <a:pt x="28" y="0"/>
                      </a:moveTo>
                      <a:cubicBezTo>
                        <a:pt x="28" y="0"/>
                        <a:pt x="28" y="50"/>
                        <a:pt x="28" y="50"/>
                      </a:cubicBezTo>
                      <a:cubicBezTo>
                        <a:pt x="0" y="50"/>
                        <a:pt x="0" y="50"/>
                        <a:pt x="0" y="50"/>
                      </a:cubicBezTo>
                      <a:cubicBezTo>
                        <a:pt x="0" y="46"/>
                        <a:pt x="3" y="43"/>
                        <a:pt x="6" y="43"/>
                      </a:cubicBezTo>
                      <a:cubicBezTo>
                        <a:pt x="7" y="43"/>
                        <a:pt x="7" y="43"/>
                        <a:pt x="7" y="43"/>
                      </a:cubicBezTo>
                      <a:cubicBezTo>
                        <a:pt x="12" y="37"/>
                        <a:pt x="17" y="22"/>
                        <a:pt x="17" y="10"/>
                      </a:cubicBezTo>
                      <a:cubicBezTo>
                        <a:pt x="17" y="1"/>
                        <a:pt x="26" y="0"/>
                        <a:pt x="28" y="0"/>
                      </a:cubicBezTo>
                      <a:close/>
                    </a:path>
                  </a:pathLst>
                </a:custGeom>
                <a:solidFill>
                  <a:srgbClr val="E6C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grpSp>
          <p:sp>
            <p:nvSpPr>
              <p:cNvPr id="35" name="Freeform 22">
                <a:extLst>
                  <a:ext uri="{FF2B5EF4-FFF2-40B4-BE49-F238E27FC236}">
                    <a16:creationId xmlns:a16="http://schemas.microsoft.com/office/drawing/2014/main" id="{8CDBFF5E-0517-4646-B1F2-A1BB5AEBA38E}"/>
                  </a:ext>
                </a:extLst>
              </p:cNvPr>
              <p:cNvSpPr>
                <a:spLocks noChangeAspect="1"/>
              </p:cNvSpPr>
              <p:nvPr/>
            </p:nvSpPr>
            <p:spPr bwMode="auto">
              <a:xfrm rot="10800000" flipV="1">
                <a:off x="4188882" y="1562219"/>
                <a:ext cx="74916" cy="15681"/>
              </a:xfrm>
              <a:custGeom>
                <a:avLst/>
                <a:gdLst>
                  <a:gd name="T0" fmla="*/ 2 w 46"/>
                  <a:gd name="T1" fmla="*/ 10 h 10"/>
                  <a:gd name="T2" fmla="*/ 1 w 46"/>
                  <a:gd name="T3" fmla="*/ 9 h 10"/>
                  <a:gd name="T4" fmla="*/ 1 w 46"/>
                  <a:gd name="T5" fmla="*/ 7 h 10"/>
                  <a:gd name="T6" fmla="*/ 7 w 46"/>
                  <a:gd name="T7" fmla="*/ 4 h 10"/>
                  <a:gd name="T8" fmla="*/ 23 w 46"/>
                  <a:gd name="T9" fmla="*/ 1 h 10"/>
                  <a:gd name="T10" fmla="*/ 44 w 46"/>
                  <a:gd name="T11" fmla="*/ 6 h 10"/>
                  <a:gd name="T12" fmla="*/ 46 w 46"/>
                  <a:gd name="T13" fmla="*/ 8 h 10"/>
                  <a:gd name="T14" fmla="*/ 44 w 46"/>
                  <a:gd name="T15" fmla="*/ 9 h 10"/>
                  <a:gd name="T16" fmla="*/ 22 w 46"/>
                  <a:gd name="T17" fmla="*/ 4 h 10"/>
                  <a:gd name="T18" fmla="*/ 8 w 46"/>
                  <a:gd name="T19" fmla="*/ 7 h 10"/>
                  <a:gd name="T20" fmla="*/ 3 w 46"/>
                  <a:gd name="T21" fmla="*/ 10 h 10"/>
                  <a:gd name="T22" fmla="*/ 2 w 46"/>
                  <a:gd name="T2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0">
                    <a:moveTo>
                      <a:pt x="2" y="10"/>
                    </a:moveTo>
                    <a:cubicBezTo>
                      <a:pt x="2" y="10"/>
                      <a:pt x="1" y="10"/>
                      <a:pt x="1" y="9"/>
                    </a:cubicBezTo>
                    <a:cubicBezTo>
                      <a:pt x="0" y="8"/>
                      <a:pt x="0" y="7"/>
                      <a:pt x="1" y="7"/>
                    </a:cubicBezTo>
                    <a:cubicBezTo>
                      <a:pt x="7" y="4"/>
                      <a:pt x="7" y="4"/>
                      <a:pt x="7" y="4"/>
                    </a:cubicBezTo>
                    <a:cubicBezTo>
                      <a:pt x="12" y="1"/>
                      <a:pt x="17" y="0"/>
                      <a:pt x="23" y="1"/>
                    </a:cubicBezTo>
                    <a:cubicBezTo>
                      <a:pt x="44" y="6"/>
                      <a:pt x="44" y="6"/>
                      <a:pt x="44" y="6"/>
                    </a:cubicBezTo>
                    <a:cubicBezTo>
                      <a:pt x="45" y="6"/>
                      <a:pt x="46" y="7"/>
                      <a:pt x="46" y="8"/>
                    </a:cubicBezTo>
                    <a:cubicBezTo>
                      <a:pt x="46" y="9"/>
                      <a:pt x="45" y="10"/>
                      <a:pt x="44" y="9"/>
                    </a:cubicBezTo>
                    <a:cubicBezTo>
                      <a:pt x="22" y="4"/>
                      <a:pt x="22" y="4"/>
                      <a:pt x="22" y="4"/>
                    </a:cubicBezTo>
                    <a:cubicBezTo>
                      <a:pt x="17" y="3"/>
                      <a:pt x="13" y="4"/>
                      <a:pt x="8" y="7"/>
                    </a:cubicBezTo>
                    <a:cubicBezTo>
                      <a:pt x="3" y="10"/>
                      <a:pt x="3" y="10"/>
                      <a:pt x="3" y="10"/>
                    </a:cubicBezTo>
                    <a:cubicBezTo>
                      <a:pt x="3" y="10"/>
                      <a:pt x="2" y="10"/>
                      <a:pt x="2"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grpSp>
        <p:sp>
          <p:nvSpPr>
            <p:cNvPr id="134" name="TextBox 133">
              <a:extLst>
                <a:ext uri="{FF2B5EF4-FFF2-40B4-BE49-F238E27FC236}">
                  <a16:creationId xmlns:a16="http://schemas.microsoft.com/office/drawing/2014/main" id="{F9A85105-A761-4DD9-97B1-6FDA069325D1}"/>
                </a:ext>
              </a:extLst>
            </p:cNvPr>
            <p:cNvSpPr txBox="1"/>
            <p:nvPr/>
          </p:nvSpPr>
          <p:spPr>
            <a:xfrm>
              <a:off x="2237942" y="4032216"/>
              <a:ext cx="1426020" cy="440890"/>
            </a:xfrm>
            <a:prstGeom prst="rect">
              <a:avLst/>
            </a:prstGeom>
            <a:noFill/>
          </p:spPr>
          <p:txBody>
            <a:bodyPr wrap="square" lIns="179259" tIns="143407" rIns="179259" bIns="143407" rtlCol="0">
              <a:spAutoFit/>
            </a:bodyPr>
            <a:lstStyle/>
            <a:p>
              <a:pPr algn="ctr" defTabSz="914192">
                <a:lnSpc>
                  <a:spcPct val="90000"/>
                </a:lnSpc>
                <a:spcAft>
                  <a:spcPts val="588"/>
                </a:spcAft>
                <a:defRPr/>
              </a:pPr>
              <a:r>
                <a:rPr lang="en-US" sz="1028">
                  <a:gradFill>
                    <a:gsLst>
                      <a:gs pos="2917">
                        <a:srgbClr val="353535"/>
                      </a:gs>
                      <a:gs pos="30000">
                        <a:srgbClr val="353535"/>
                      </a:gs>
                    </a:gsLst>
                    <a:lin ang="5400000" scaled="0"/>
                  </a:gradFill>
                </a:rPr>
                <a:t>Paris Office</a:t>
              </a:r>
            </a:p>
          </p:txBody>
        </p:sp>
      </p:grpSp>
      <p:grpSp>
        <p:nvGrpSpPr>
          <p:cNvPr id="195" name="Group 194">
            <a:extLst>
              <a:ext uri="{FF2B5EF4-FFF2-40B4-BE49-F238E27FC236}">
                <a16:creationId xmlns:a16="http://schemas.microsoft.com/office/drawing/2014/main" id="{94C8A027-F5F6-4E64-B847-2347B95C7489}"/>
              </a:ext>
            </a:extLst>
          </p:cNvPr>
          <p:cNvGrpSpPr/>
          <p:nvPr/>
        </p:nvGrpSpPr>
        <p:grpSpPr>
          <a:xfrm>
            <a:off x="2922887" y="4094679"/>
            <a:ext cx="1397788" cy="1368025"/>
            <a:chOff x="2991042" y="4305076"/>
            <a:chExt cx="1426020" cy="1395655"/>
          </a:xfrm>
        </p:grpSpPr>
        <p:grpSp>
          <p:nvGrpSpPr>
            <p:cNvPr id="2" name="Group 1">
              <a:extLst>
                <a:ext uri="{FF2B5EF4-FFF2-40B4-BE49-F238E27FC236}">
                  <a16:creationId xmlns:a16="http://schemas.microsoft.com/office/drawing/2014/main" id="{771D9130-9F1A-4E7A-BCBC-E0CE8C352D7A}"/>
                </a:ext>
              </a:extLst>
            </p:cNvPr>
            <p:cNvGrpSpPr/>
            <p:nvPr/>
          </p:nvGrpSpPr>
          <p:grpSpPr>
            <a:xfrm>
              <a:off x="3207818" y="4305076"/>
              <a:ext cx="1056126" cy="1075207"/>
              <a:chOff x="3207818" y="4305076"/>
              <a:chExt cx="1056126" cy="1075207"/>
            </a:xfrm>
          </p:grpSpPr>
          <p:pic>
            <p:nvPicPr>
              <p:cNvPr id="131" name="Picture 130">
                <a:extLst>
                  <a:ext uri="{FF2B5EF4-FFF2-40B4-BE49-F238E27FC236}">
                    <a16:creationId xmlns:a16="http://schemas.microsoft.com/office/drawing/2014/main" id="{1662B49D-71B5-4990-AFD4-6267033206C4}"/>
                  </a:ext>
                </a:extLst>
              </p:cNvPr>
              <p:cNvPicPr>
                <a:picLocks noChangeAspect="1"/>
              </p:cNvPicPr>
              <p:nvPr/>
            </p:nvPicPr>
            <p:blipFill>
              <a:blip r:embed="rId5"/>
              <a:stretch>
                <a:fillRect/>
              </a:stretch>
            </p:blipFill>
            <p:spPr>
              <a:xfrm>
                <a:off x="3207818" y="4439397"/>
                <a:ext cx="932873" cy="940886"/>
              </a:xfrm>
              <a:prstGeom prst="rect">
                <a:avLst/>
              </a:prstGeom>
            </p:spPr>
          </p:pic>
          <p:pic>
            <p:nvPicPr>
              <p:cNvPr id="132" name="Picture 131">
                <a:extLst>
                  <a:ext uri="{FF2B5EF4-FFF2-40B4-BE49-F238E27FC236}">
                    <a16:creationId xmlns:a16="http://schemas.microsoft.com/office/drawing/2014/main" id="{BBE7F27D-0F5C-4FC1-B7F3-72E193BD7A76}"/>
                  </a:ext>
                </a:extLst>
              </p:cNvPr>
              <p:cNvPicPr>
                <a:picLocks noChangeAspect="1"/>
              </p:cNvPicPr>
              <p:nvPr/>
            </p:nvPicPr>
            <p:blipFill>
              <a:blip r:embed="rId6"/>
              <a:stretch>
                <a:fillRect/>
              </a:stretch>
            </p:blipFill>
            <p:spPr>
              <a:xfrm>
                <a:off x="3726610" y="4305076"/>
                <a:ext cx="537334" cy="542761"/>
              </a:xfrm>
              <a:prstGeom prst="rect">
                <a:avLst/>
              </a:prstGeom>
            </p:spPr>
          </p:pic>
        </p:grpSp>
        <p:sp>
          <p:nvSpPr>
            <p:cNvPr id="135" name="TextBox 134">
              <a:extLst>
                <a:ext uri="{FF2B5EF4-FFF2-40B4-BE49-F238E27FC236}">
                  <a16:creationId xmlns:a16="http://schemas.microsoft.com/office/drawing/2014/main" id="{DB243038-3CD9-4291-957A-F039304F25FB}"/>
                </a:ext>
              </a:extLst>
            </p:cNvPr>
            <p:cNvSpPr txBox="1"/>
            <p:nvPr/>
          </p:nvSpPr>
          <p:spPr>
            <a:xfrm>
              <a:off x="2991042" y="5259841"/>
              <a:ext cx="1426020" cy="440890"/>
            </a:xfrm>
            <a:prstGeom prst="rect">
              <a:avLst/>
            </a:prstGeom>
            <a:noFill/>
          </p:spPr>
          <p:txBody>
            <a:bodyPr wrap="square" lIns="179259" tIns="143407" rIns="179259" bIns="143407" rtlCol="0">
              <a:spAutoFit/>
            </a:bodyPr>
            <a:lstStyle/>
            <a:p>
              <a:pPr algn="ctr" defTabSz="914192">
                <a:lnSpc>
                  <a:spcPct val="90000"/>
                </a:lnSpc>
                <a:spcAft>
                  <a:spcPts val="588"/>
                </a:spcAft>
                <a:defRPr/>
              </a:pPr>
              <a:r>
                <a:rPr lang="en-US" sz="1028">
                  <a:gradFill>
                    <a:gsLst>
                      <a:gs pos="2917">
                        <a:srgbClr val="353535"/>
                      </a:gs>
                      <a:gs pos="30000">
                        <a:srgbClr val="353535"/>
                      </a:gs>
                    </a:gsLst>
                    <a:lin ang="5400000" scaled="0"/>
                  </a:gradFill>
                </a:rPr>
                <a:t>Sydney Office</a:t>
              </a:r>
            </a:p>
          </p:txBody>
        </p:sp>
      </p:grpSp>
      <p:cxnSp>
        <p:nvCxnSpPr>
          <p:cNvPr id="138" name="Connector: Elbow 137">
            <a:extLst>
              <a:ext uri="{FF2B5EF4-FFF2-40B4-BE49-F238E27FC236}">
                <a16:creationId xmlns:a16="http://schemas.microsoft.com/office/drawing/2014/main" id="{7D67EED6-20C3-4BBD-97E9-F5DC6B4A2A50}"/>
              </a:ext>
            </a:extLst>
          </p:cNvPr>
          <p:cNvCxnSpPr>
            <a:cxnSpLocks/>
            <a:stCxn id="62" idx="3"/>
            <a:endCxn id="147" idx="0"/>
          </p:cNvCxnSpPr>
          <p:nvPr/>
        </p:nvCxnSpPr>
        <p:spPr>
          <a:xfrm>
            <a:off x="4277770" y="1729672"/>
            <a:ext cx="850041" cy="1130779"/>
          </a:xfrm>
          <a:prstGeom prst="bentConnector2">
            <a:avLst/>
          </a:prstGeom>
          <a:ln w="28575">
            <a:solidFill>
              <a:srgbClr val="C00000"/>
            </a:solidFill>
            <a:headEnd type="none"/>
            <a:tailEnd type="triangle"/>
          </a:ln>
          <a:effectLst/>
        </p:spPr>
        <p:style>
          <a:lnRef idx="1">
            <a:schemeClr val="accent1"/>
          </a:lnRef>
          <a:fillRef idx="0">
            <a:schemeClr val="accent1"/>
          </a:fillRef>
          <a:effectRef idx="0">
            <a:schemeClr val="accent1"/>
          </a:effectRef>
          <a:fontRef idx="minor">
            <a:schemeClr val="tx1"/>
          </a:fontRef>
        </p:style>
      </p:cxnSp>
      <p:cxnSp>
        <p:nvCxnSpPr>
          <p:cNvPr id="139" name="Connector: Elbow 138">
            <a:extLst>
              <a:ext uri="{FF2B5EF4-FFF2-40B4-BE49-F238E27FC236}">
                <a16:creationId xmlns:a16="http://schemas.microsoft.com/office/drawing/2014/main" id="{B07F2030-CDE8-4C1A-9DC4-C27B21830F40}"/>
              </a:ext>
            </a:extLst>
          </p:cNvPr>
          <p:cNvCxnSpPr>
            <a:cxnSpLocks/>
          </p:cNvCxnSpPr>
          <p:nvPr/>
        </p:nvCxnSpPr>
        <p:spPr>
          <a:xfrm rot="5400000" flipH="1" flipV="1">
            <a:off x="3862777" y="3483230"/>
            <a:ext cx="702009" cy="551483"/>
          </a:xfrm>
          <a:prstGeom prst="bentConnector3">
            <a:avLst>
              <a:gd name="adj1" fmla="val 99873"/>
            </a:avLst>
          </a:prstGeom>
          <a:ln w="28575">
            <a:solidFill>
              <a:srgbClr val="C00000"/>
            </a:solidFill>
            <a:headEnd type="none"/>
            <a:tailEnd type="triangle"/>
          </a:ln>
          <a:effectLst/>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39579D02-201C-458D-B51B-43191DBABD77}"/>
              </a:ext>
            </a:extLst>
          </p:cNvPr>
          <p:cNvCxnSpPr>
            <a:cxnSpLocks/>
            <a:stCxn id="37" idx="6"/>
          </p:cNvCxnSpPr>
          <p:nvPr/>
        </p:nvCxnSpPr>
        <p:spPr>
          <a:xfrm>
            <a:off x="3532968" y="3190331"/>
            <a:ext cx="1014847" cy="1587"/>
          </a:xfrm>
          <a:prstGeom prst="line">
            <a:avLst/>
          </a:prstGeom>
          <a:ln w="28575">
            <a:solidFill>
              <a:srgbClr val="C00000"/>
            </a:solidFill>
            <a:headEnd type="none"/>
            <a:tailEnd type="triangle"/>
          </a:ln>
          <a:effectLst/>
        </p:spPr>
        <p:style>
          <a:lnRef idx="1">
            <a:schemeClr val="accent1"/>
          </a:lnRef>
          <a:fillRef idx="0">
            <a:schemeClr val="accent1"/>
          </a:fillRef>
          <a:effectRef idx="0">
            <a:schemeClr val="accent1"/>
          </a:effectRef>
          <a:fontRef idx="minor">
            <a:schemeClr val="tx1"/>
          </a:fontRef>
        </p:style>
      </p:cxnSp>
      <p:cxnSp>
        <p:nvCxnSpPr>
          <p:cNvPr id="141" name="Connector: Elbow 140">
            <a:extLst>
              <a:ext uri="{FF2B5EF4-FFF2-40B4-BE49-F238E27FC236}">
                <a16:creationId xmlns:a16="http://schemas.microsoft.com/office/drawing/2014/main" id="{4AF48F1E-8376-40FE-9AF7-A672ABA17B1F}"/>
              </a:ext>
            </a:extLst>
          </p:cNvPr>
          <p:cNvCxnSpPr>
            <a:cxnSpLocks/>
            <a:stCxn id="145" idx="0"/>
            <a:endCxn id="147" idx="3"/>
          </p:cNvCxnSpPr>
          <p:nvPr/>
        </p:nvCxnSpPr>
        <p:spPr>
          <a:xfrm rot="16200000" flipV="1">
            <a:off x="6268861" y="3013364"/>
            <a:ext cx="333594" cy="1328228"/>
          </a:xfrm>
          <a:prstGeom prst="bentConnector2">
            <a:avLst/>
          </a:prstGeom>
          <a:ln w="28575">
            <a:solidFill>
              <a:srgbClr val="C00000"/>
            </a:solidFill>
            <a:headEnd type="none"/>
            <a:tailEnd type="triangle"/>
          </a:ln>
          <a:effectLst/>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328903FC-C3EA-4DAC-8C5B-EA3561BE49C4}"/>
              </a:ext>
            </a:extLst>
          </p:cNvPr>
          <p:cNvGrpSpPr/>
          <p:nvPr/>
        </p:nvGrpSpPr>
        <p:grpSpPr>
          <a:xfrm>
            <a:off x="5984787" y="3844275"/>
            <a:ext cx="1397787" cy="1328788"/>
            <a:chOff x="5846869" y="3920923"/>
            <a:chExt cx="1426019" cy="1355626"/>
          </a:xfrm>
        </p:grpSpPr>
        <p:sp>
          <p:nvSpPr>
            <p:cNvPr id="143" name="TextBox 142">
              <a:extLst>
                <a:ext uri="{FF2B5EF4-FFF2-40B4-BE49-F238E27FC236}">
                  <a16:creationId xmlns:a16="http://schemas.microsoft.com/office/drawing/2014/main" id="{EE0D3C2E-B395-4283-9710-294DA35B1990}"/>
                </a:ext>
              </a:extLst>
            </p:cNvPr>
            <p:cNvSpPr txBox="1"/>
            <p:nvPr/>
          </p:nvSpPr>
          <p:spPr>
            <a:xfrm>
              <a:off x="5846869" y="4835659"/>
              <a:ext cx="1426019" cy="440890"/>
            </a:xfrm>
            <a:prstGeom prst="rect">
              <a:avLst/>
            </a:prstGeom>
            <a:noFill/>
          </p:spPr>
          <p:txBody>
            <a:bodyPr wrap="square" lIns="179259" tIns="143407" rIns="179259" bIns="143407" rtlCol="0">
              <a:spAutoFit/>
            </a:bodyPr>
            <a:lstStyle/>
            <a:p>
              <a:pPr algn="ctr" defTabSz="914192">
                <a:lnSpc>
                  <a:spcPct val="90000"/>
                </a:lnSpc>
                <a:spcAft>
                  <a:spcPts val="588"/>
                </a:spcAft>
                <a:defRPr/>
              </a:pPr>
              <a:r>
                <a:rPr lang="en-US" sz="1028">
                  <a:gradFill>
                    <a:gsLst>
                      <a:gs pos="2917">
                        <a:srgbClr val="353535"/>
                      </a:gs>
                      <a:gs pos="30000">
                        <a:srgbClr val="353535"/>
                      </a:gs>
                    </a:gsLst>
                    <a:lin ang="5400000" scaled="0"/>
                  </a:gradFill>
                </a:rPr>
                <a:t>Traveling in Asia</a:t>
              </a:r>
            </a:p>
          </p:txBody>
        </p:sp>
        <p:pic>
          <p:nvPicPr>
            <p:cNvPr id="144" name="Picture 143">
              <a:extLst>
                <a:ext uri="{FF2B5EF4-FFF2-40B4-BE49-F238E27FC236}">
                  <a16:creationId xmlns:a16="http://schemas.microsoft.com/office/drawing/2014/main" id="{28A933D1-662D-4F92-B837-2CBBDB652FDB}"/>
                </a:ext>
              </a:extLst>
            </p:cNvPr>
            <p:cNvPicPr>
              <a:picLocks noChangeAspect="1"/>
            </p:cNvPicPr>
            <p:nvPr/>
          </p:nvPicPr>
          <p:blipFill>
            <a:blip r:embed="rId7"/>
            <a:stretch>
              <a:fillRect/>
            </a:stretch>
          </p:blipFill>
          <p:spPr>
            <a:xfrm>
              <a:off x="6096119" y="4029889"/>
              <a:ext cx="932199" cy="940205"/>
            </a:xfrm>
            <a:prstGeom prst="rect">
              <a:avLst/>
            </a:prstGeom>
          </p:spPr>
        </p:pic>
        <p:pic>
          <p:nvPicPr>
            <p:cNvPr id="145" name="Picture 144">
              <a:extLst>
                <a:ext uri="{FF2B5EF4-FFF2-40B4-BE49-F238E27FC236}">
                  <a16:creationId xmlns:a16="http://schemas.microsoft.com/office/drawing/2014/main" id="{98606643-F069-4E49-8418-E10DD325396D}"/>
                </a:ext>
              </a:extLst>
            </p:cNvPr>
            <p:cNvPicPr>
              <a:picLocks noChangeAspect="1"/>
            </p:cNvPicPr>
            <p:nvPr/>
          </p:nvPicPr>
          <p:blipFill>
            <a:blip r:embed="rId8"/>
            <a:stretch>
              <a:fillRect/>
            </a:stretch>
          </p:blipFill>
          <p:spPr>
            <a:xfrm>
              <a:off x="6715468" y="3920923"/>
              <a:ext cx="537807" cy="543239"/>
            </a:xfrm>
            <a:prstGeom prst="rect">
              <a:avLst/>
            </a:prstGeom>
          </p:spPr>
        </p:pic>
      </p:grpSp>
      <p:sp>
        <p:nvSpPr>
          <p:cNvPr id="146" name="Oval 145">
            <a:extLst>
              <a:ext uri="{FF2B5EF4-FFF2-40B4-BE49-F238E27FC236}">
                <a16:creationId xmlns:a16="http://schemas.microsoft.com/office/drawing/2014/main" id="{12DBB131-6F63-4139-9883-B93922D91857}"/>
              </a:ext>
            </a:extLst>
          </p:cNvPr>
          <p:cNvSpPr/>
          <p:nvPr/>
        </p:nvSpPr>
        <p:spPr bwMode="auto">
          <a:xfrm>
            <a:off x="2040009" y="1390640"/>
            <a:ext cx="4236376" cy="4216671"/>
          </a:xfrm>
          <a:prstGeom prst="ellipse">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cs typeface="Segoe UI" pitchFamily="34" charset="0"/>
            </a:endParaRPr>
          </a:p>
        </p:txBody>
      </p:sp>
      <p:sp>
        <p:nvSpPr>
          <p:cNvPr id="198" name="TextBox 197">
            <a:extLst>
              <a:ext uri="{FF2B5EF4-FFF2-40B4-BE49-F238E27FC236}">
                <a16:creationId xmlns:a16="http://schemas.microsoft.com/office/drawing/2014/main" id="{CE1C5779-BF3B-49DA-A0A5-A5BCF6665FDD}"/>
              </a:ext>
            </a:extLst>
          </p:cNvPr>
          <p:cNvSpPr txBox="1"/>
          <p:nvPr/>
        </p:nvSpPr>
        <p:spPr>
          <a:xfrm>
            <a:off x="3574449" y="4342496"/>
            <a:ext cx="2475161" cy="865077"/>
          </a:xfrm>
          <a:prstGeom prst="rect">
            <a:avLst/>
          </a:prstGeom>
          <a:noFill/>
          <a:ln>
            <a:noFill/>
          </a:ln>
        </p:spPr>
        <p:txBody>
          <a:bodyPr wrap="square" lIns="179259" tIns="143407" rIns="179259" bIns="143407" rtlCol="0">
            <a:spAutoFit/>
          </a:bodyPr>
          <a:lstStyle>
            <a:defPPr>
              <a:defRPr lang="en-US"/>
            </a:defPPr>
            <a:lvl1pPr algn="ctr">
              <a:lnSpc>
                <a:spcPct val="90000"/>
              </a:lnSpc>
              <a:spcAft>
                <a:spcPts val="600"/>
              </a:spcAft>
              <a:defRPr sz="2000" b="1">
                <a:solidFill>
                  <a:srgbClr val="C00000"/>
                </a:solidFill>
              </a:defRPr>
            </a:lvl1pPr>
          </a:lstStyle>
          <a:p>
            <a:pPr defTabSz="914192">
              <a:defRPr/>
            </a:pPr>
            <a:r>
              <a:rPr lang="en-US" sz="1765"/>
              <a:t>Enterprise </a:t>
            </a:r>
          </a:p>
          <a:p>
            <a:pPr defTabSz="914192">
              <a:defRPr/>
            </a:pPr>
            <a:r>
              <a:rPr lang="en-US" sz="1765"/>
              <a:t>Network</a:t>
            </a:r>
          </a:p>
        </p:txBody>
      </p:sp>
      <p:grpSp>
        <p:nvGrpSpPr>
          <p:cNvPr id="5" name="Group 4">
            <a:extLst>
              <a:ext uri="{FF2B5EF4-FFF2-40B4-BE49-F238E27FC236}">
                <a16:creationId xmlns:a16="http://schemas.microsoft.com/office/drawing/2014/main" id="{01D0E2C5-6260-4450-BE03-54483A1E6610}"/>
              </a:ext>
            </a:extLst>
          </p:cNvPr>
          <p:cNvGrpSpPr/>
          <p:nvPr/>
        </p:nvGrpSpPr>
        <p:grpSpPr>
          <a:xfrm>
            <a:off x="2950518" y="1463159"/>
            <a:ext cx="1397788" cy="1393277"/>
            <a:chOff x="3009225" y="1491714"/>
            <a:chExt cx="1426020" cy="1421417"/>
          </a:xfrm>
        </p:grpSpPr>
        <p:pic>
          <p:nvPicPr>
            <p:cNvPr id="60" name="Picture 59">
              <a:extLst>
                <a:ext uri="{FF2B5EF4-FFF2-40B4-BE49-F238E27FC236}">
                  <a16:creationId xmlns:a16="http://schemas.microsoft.com/office/drawing/2014/main" id="{6109B42E-7009-4F66-9080-348805DFF32A}"/>
                </a:ext>
              </a:extLst>
            </p:cNvPr>
            <p:cNvPicPr>
              <a:picLocks noChangeAspect="1"/>
            </p:cNvPicPr>
            <p:nvPr/>
          </p:nvPicPr>
          <p:blipFill>
            <a:blip r:embed="rId9"/>
            <a:stretch>
              <a:fillRect/>
            </a:stretch>
          </p:blipFill>
          <p:spPr>
            <a:xfrm>
              <a:off x="3254907" y="1626866"/>
              <a:ext cx="929546" cy="940343"/>
            </a:xfrm>
            <a:prstGeom prst="rect">
              <a:avLst/>
            </a:prstGeom>
          </p:spPr>
        </p:pic>
        <p:sp>
          <p:nvSpPr>
            <p:cNvPr id="133" name="TextBox 132">
              <a:extLst>
                <a:ext uri="{FF2B5EF4-FFF2-40B4-BE49-F238E27FC236}">
                  <a16:creationId xmlns:a16="http://schemas.microsoft.com/office/drawing/2014/main" id="{450F9F2E-67E8-49B0-A2DD-4B8ED9385655}"/>
                </a:ext>
              </a:extLst>
            </p:cNvPr>
            <p:cNvSpPr txBox="1"/>
            <p:nvPr/>
          </p:nvSpPr>
          <p:spPr>
            <a:xfrm>
              <a:off x="3009225" y="2472241"/>
              <a:ext cx="1426020" cy="440890"/>
            </a:xfrm>
            <a:prstGeom prst="rect">
              <a:avLst/>
            </a:prstGeom>
            <a:noFill/>
          </p:spPr>
          <p:txBody>
            <a:bodyPr wrap="square" lIns="179259" tIns="143407" rIns="179259" bIns="143407" rtlCol="0">
              <a:spAutoFit/>
            </a:bodyPr>
            <a:lstStyle/>
            <a:p>
              <a:pPr algn="ctr" defTabSz="914192">
                <a:lnSpc>
                  <a:spcPct val="90000"/>
                </a:lnSpc>
                <a:spcAft>
                  <a:spcPts val="588"/>
                </a:spcAft>
                <a:defRPr/>
              </a:pPr>
              <a:r>
                <a:rPr lang="en-US" sz="1028">
                  <a:gradFill>
                    <a:gsLst>
                      <a:gs pos="2917">
                        <a:srgbClr val="353535"/>
                      </a:gs>
                      <a:gs pos="30000">
                        <a:srgbClr val="353535"/>
                      </a:gs>
                    </a:gsLst>
                    <a:lin ang="5400000" scaled="0"/>
                  </a:gradFill>
                </a:rPr>
                <a:t>Seattle Office</a:t>
              </a:r>
            </a:p>
          </p:txBody>
        </p:sp>
        <p:sp>
          <p:nvSpPr>
            <p:cNvPr id="62" name="AutoShape 3">
              <a:extLst>
                <a:ext uri="{FF2B5EF4-FFF2-40B4-BE49-F238E27FC236}">
                  <a16:creationId xmlns:a16="http://schemas.microsoft.com/office/drawing/2014/main" id="{079DEA7C-013C-44CB-A8AB-231C610A3321}"/>
                </a:ext>
              </a:extLst>
            </p:cNvPr>
            <p:cNvSpPr>
              <a:spLocks noChangeAspect="1" noChangeArrowheads="1" noTextEdit="1"/>
            </p:cNvSpPr>
            <p:nvPr/>
          </p:nvSpPr>
          <p:spPr bwMode="auto">
            <a:xfrm>
              <a:off x="3825950" y="1492521"/>
              <a:ext cx="537335" cy="54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63" name="Oval 5">
              <a:extLst>
                <a:ext uri="{FF2B5EF4-FFF2-40B4-BE49-F238E27FC236}">
                  <a16:creationId xmlns:a16="http://schemas.microsoft.com/office/drawing/2014/main" id="{21C3CC12-DE6E-488B-9064-924215EE748F}"/>
                </a:ext>
              </a:extLst>
            </p:cNvPr>
            <p:cNvSpPr>
              <a:spLocks noChangeArrowheads="1"/>
            </p:cNvSpPr>
            <p:nvPr/>
          </p:nvSpPr>
          <p:spPr bwMode="auto">
            <a:xfrm>
              <a:off x="3826757" y="1491714"/>
              <a:ext cx="537335" cy="542175"/>
            </a:xfrm>
            <a:prstGeom prst="ellipse">
              <a:avLst/>
            </a:prstGeom>
            <a:solidFill>
              <a:srgbClr val="F04E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64" name="Freeform 6">
              <a:extLst>
                <a:ext uri="{FF2B5EF4-FFF2-40B4-BE49-F238E27FC236}">
                  <a16:creationId xmlns:a16="http://schemas.microsoft.com/office/drawing/2014/main" id="{AAFF3B00-0149-4026-9942-70BCD1DE3952}"/>
                </a:ext>
              </a:extLst>
            </p:cNvPr>
            <p:cNvSpPr>
              <a:spLocks/>
            </p:cNvSpPr>
            <p:nvPr/>
          </p:nvSpPr>
          <p:spPr bwMode="auto">
            <a:xfrm>
              <a:off x="3997800" y="1585304"/>
              <a:ext cx="203316" cy="265440"/>
            </a:xfrm>
            <a:custGeom>
              <a:avLst/>
              <a:gdLst>
                <a:gd name="T0" fmla="*/ 200 w 269"/>
                <a:gd name="T1" fmla="*/ 0 h 348"/>
                <a:gd name="T2" fmla="*/ 199 w 269"/>
                <a:gd name="T3" fmla="*/ 17 h 348"/>
                <a:gd name="T4" fmla="*/ 136 w 269"/>
                <a:gd name="T5" fmla="*/ 8 h 348"/>
                <a:gd name="T6" fmla="*/ 8 w 269"/>
                <a:gd name="T7" fmla="*/ 75 h 348"/>
                <a:gd name="T8" fmla="*/ 11 w 269"/>
                <a:gd name="T9" fmla="*/ 266 h 348"/>
                <a:gd name="T10" fmla="*/ 242 w 269"/>
                <a:gd name="T11" fmla="*/ 254 h 348"/>
                <a:gd name="T12" fmla="*/ 250 w 269"/>
                <a:gd name="T13" fmla="*/ 204 h 348"/>
                <a:gd name="T14" fmla="*/ 200 w 269"/>
                <a:gd name="T15" fmla="*/ 0 h 3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9" h="348">
                  <a:moveTo>
                    <a:pt x="200" y="0"/>
                  </a:moveTo>
                  <a:cubicBezTo>
                    <a:pt x="199" y="17"/>
                    <a:pt x="199" y="17"/>
                    <a:pt x="199" y="17"/>
                  </a:cubicBezTo>
                  <a:cubicBezTo>
                    <a:pt x="182" y="11"/>
                    <a:pt x="162" y="8"/>
                    <a:pt x="136" y="8"/>
                  </a:cubicBezTo>
                  <a:cubicBezTo>
                    <a:pt x="83" y="8"/>
                    <a:pt x="25" y="14"/>
                    <a:pt x="8" y="75"/>
                  </a:cubicBezTo>
                  <a:cubicBezTo>
                    <a:pt x="6" y="144"/>
                    <a:pt x="0" y="256"/>
                    <a:pt x="11" y="266"/>
                  </a:cubicBezTo>
                  <a:cubicBezTo>
                    <a:pt x="5" y="265"/>
                    <a:pt x="179" y="348"/>
                    <a:pt x="242" y="254"/>
                  </a:cubicBezTo>
                  <a:cubicBezTo>
                    <a:pt x="261" y="227"/>
                    <a:pt x="242" y="243"/>
                    <a:pt x="250" y="204"/>
                  </a:cubicBezTo>
                  <a:cubicBezTo>
                    <a:pt x="269" y="112"/>
                    <a:pt x="254" y="7"/>
                    <a:pt x="20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65" name="Freeform 7">
              <a:extLst>
                <a:ext uri="{FF2B5EF4-FFF2-40B4-BE49-F238E27FC236}">
                  <a16:creationId xmlns:a16="http://schemas.microsoft.com/office/drawing/2014/main" id="{0024416F-F5EE-4A80-86AF-138549CD5D66}"/>
                </a:ext>
              </a:extLst>
            </p:cNvPr>
            <p:cNvSpPr>
              <a:spLocks/>
            </p:cNvSpPr>
            <p:nvPr/>
          </p:nvSpPr>
          <p:spPr bwMode="auto">
            <a:xfrm>
              <a:off x="3936483" y="1831380"/>
              <a:ext cx="70192" cy="71806"/>
            </a:xfrm>
            <a:custGeom>
              <a:avLst/>
              <a:gdLst>
                <a:gd name="T0" fmla="*/ 79 w 93"/>
                <a:gd name="T1" fmla="*/ 21 h 95"/>
                <a:gd name="T2" fmla="*/ 72 w 93"/>
                <a:gd name="T3" fmla="*/ 80 h 95"/>
                <a:gd name="T4" fmla="*/ 14 w 93"/>
                <a:gd name="T5" fmla="*/ 74 h 95"/>
                <a:gd name="T6" fmla="*/ 21 w 93"/>
                <a:gd name="T7" fmla="*/ 14 h 95"/>
                <a:gd name="T8" fmla="*/ 79 w 93"/>
                <a:gd name="T9" fmla="*/ 21 h 95"/>
              </a:gdLst>
              <a:ahLst/>
              <a:cxnLst>
                <a:cxn ang="0">
                  <a:pos x="T0" y="T1"/>
                </a:cxn>
                <a:cxn ang="0">
                  <a:pos x="T2" y="T3"/>
                </a:cxn>
                <a:cxn ang="0">
                  <a:pos x="T4" y="T5"/>
                </a:cxn>
                <a:cxn ang="0">
                  <a:pos x="T6" y="T7"/>
                </a:cxn>
                <a:cxn ang="0">
                  <a:pos x="T8" y="T9"/>
                </a:cxn>
              </a:cxnLst>
              <a:rect l="0" t="0" r="r" b="b"/>
              <a:pathLst>
                <a:path w="93" h="95">
                  <a:moveTo>
                    <a:pt x="79" y="21"/>
                  </a:moveTo>
                  <a:cubicBezTo>
                    <a:pt x="93" y="39"/>
                    <a:pt x="90" y="65"/>
                    <a:pt x="72" y="80"/>
                  </a:cubicBezTo>
                  <a:cubicBezTo>
                    <a:pt x="54" y="95"/>
                    <a:pt x="29" y="92"/>
                    <a:pt x="14" y="74"/>
                  </a:cubicBezTo>
                  <a:cubicBezTo>
                    <a:pt x="0" y="55"/>
                    <a:pt x="3" y="29"/>
                    <a:pt x="21" y="14"/>
                  </a:cubicBezTo>
                  <a:cubicBezTo>
                    <a:pt x="38" y="0"/>
                    <a:pt x="64" y="2"/>
                    <a:pt x="79" y="21"/>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66" name="Freeform 8">
              <a:extLst>
                <a:ext uri="{FF2B5EF4-FFF2-40B4-BE49-F238E27FC236}">
                  <a16:creationId xmlns:a16="http://schemas.microsoft.com/office/drawing/2014/main" id="{3C2F39B1-3E3C-4895-B655-0A80A72E2D5D}"/>
                </a:ext>
              </a:extLst>
            </p:cNvPr>
            <p:cNvSpPr>
              <a:spLocks/>
            </p:cNvSpPr>
            <p:nvPr/>
          </p:nvSpPr>
          <p:spPr bwMode="auto">
            <a:xfrm>
              <a:off x="3905824" y="1837835"/>
              <a:ext cx="96817" cy="161362"/>
            </a:xfrm>
            <a:custGeom>
              <a:avLst/>
              <a:gdLst>
                <a:gd name="T0" fmla="*/ 125 w 128"/>
                <a:gd name="T1" fmla="*/ 63 h 211"/>
                <a:gd name="T2" fmla="*/ 112 w 128"/>
                <a:gd name="T3" fmla="*/ 102 h 211"/>
                <a:gd name="T4" fmla="*/ 76 w 128"/>
                <a:gd name="T5" fmla="*/ 211 h 211"/>
                <a:gd name="T6" fmla="*/ 0 w 128"/>
                <a:gd name="T7" fmla="*/ 154 h 211"/>
                <a:gd name="T8" fmla="*/ 27 w 128"/>
                <a:gd name="T9" fmla="*/ 73 h 211"/>
                <a:gd name="T10" fmla="*/ 40 w 128"/>
                <a:gd name="T11" fmla="*/ 34 h 211"/>
                <a:gd name="T12" fmla="*/ 50 w 128"/>
                <a:gd name="T13" fmla="*/ 18 h 211"/>
                <a:gd name="T14" fmla="*/ 50 w 128"/>
                <a:gd name="T15" fmla="*/ 18 h 211"/>
                <a:gd name="T16" fmla="*/ 97 w 128"/>
                <a:gd name="T17" fmla="*/ 6 h 211"/>
                <a:gd name="T18" fmla="*/ 127 w 128"/>
                <a:gd name="T19" fmla="*/ 43 h 211"/>
                <a:gd name="T20" fmla="*/ 125 w 128"/>
                <a:gd name="T21" fmla="*/ 6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211">
                  <a:moveTo>
                    <a:pt x="125" y="63"/>
                  </a:moveTo>
                  <a:cubicBezTo>
                    <a:pt x="122" y="75"/>
                    <a:pt x="117" y="88"/>
                    <a:pt x="112" y="102"/>
                  </a:cubicBezTo>
                  <a:cubicBezTo>
                    <a:pt x="101" y="134"/>
                    <a:pt x="88" y="171"/>
                    <a:pt x="76" y="211"/>
                  </a:cubicBezTo>
                  <a:cubicBezTo>
                    <a:pt x="48" y="195"/>
                    <a:pt x="23" y="176"/>
                    <a:pt x="0" y="154"/>
                  </a:cubicBezTo>
                  <a:cubicBezTo>
                    <a:pt x="10" y="124"/>
                    <a:pt x="19" y="97"/>
                    <a:pt x="27" y="73"/>
                  </a:cubicBezTo>
                  <a:cubicBezTo>
                    <a:pt x="32" y="59"/>
                    <a:pt x="37" y="46"/>
                    <a:pt x="40" y="34"/>
                  </a:cubicBezTo>
                  <a:cubicBezTo>
                    <a:pt x="42" y="28"/>
                    <a:pt x="46" y="23"/>
                    <a:pt x="50" y="18"/>
                  </a:cubicBezTo>
                  <a:cubicBezTo>
                    <a:pt x="50" y="18"/>
                    <a:pt x="50" y="18"/>
                    <a:pt x="50" y="18"/>
                  </a:cubicBezTo>
                  <a:cubicBezTo>
                    <a:pt x="62" y="6"/>
                    <a:pt x="80" y="0"/>
                    <a:pt x="97" y="6"/>
                  </a:cubicBezTo>
                  <a:cubicBezTo>
                    <a:pt x="114" y="12"/>
                    <a:pt x="125" y="26"/>
                    <a:pt x="127" y="43"/>
                  </a:cubicBezTo>
                  <a:cubicBezTo>
                    <a:pt x="128" y="49"/>
                    <a:pt x="128" y="56"/>
                    <a:pt x="125" y="63"/>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67" name="Freeform 9">
              <a:extLst>
                <a:ext uri="{FF2B5EF4-FFF2-40B4-BE49-F238E27FC236}">
                  <a16:creationId xmlns:a16="http://schemas.microsoft.com/office/drawing/2014/main" id="{FE09D404-6287-4B64-920A-80F8FC585D16}"/>
                </a:ext>
              </a:extLst>
            </p:cNvPr>
            <p:cNvSpPr>
              <a:spLocks/>
            </p:cNvSpPr>
            <p:nvPr/>
          </p:nvSpPr>
          <p:spPr bwMode="auto">
            <a:xfrm>
              <a:off x="4170458" y="1827346"/>
              <a:ext cx="105692" cy="176691"/>
            </a:xfrm>
            <a:custGeom>
              <a:avLst/>
              <a:gdLst>
                <a:gd name="T0" fmla="*/ 140 w 140"/>
                <a:gd name="T1" fmla="*/ 178 h 232"/>
                <a:gd name="T2" fmla="*/ 62 w 140"/>
                <a:gd name="T3" fmla="*/ 232 h 232"/>
                <a:gd name="T4" fmla="*/ 21 w 140"/>
                <a:gd name="T5" fmla="*/ 104 h 232"/>
                <a:gd name="T6" fmla="*/ 8 w 140"/>
                <a:gd name="T7" fmla="*/ 65 h 232"/>
                <a:gd name="T8" fmla="*/ 36 w 140"/>
                <a:gd name="T9" fmla="*/ 8 h 232"/>
                <a:gd name="T10" fmla="*/ 93 w 140"/>
                <a:gd name="T11" fmla="*/ 37 h 232"/>
                <a:gd name="T12" fmla="*/ 106 w 140"/>
                <a:gd name="T13" fmla="*/ 75 h 232"/>
                <a:gd name="T14" fmla="*/ 140 w 140"/>
                <a:gd name="T15" fmla="*/ 178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 h="232">
                  <a:moveTo>
                    <a:pt x="140" y="178"/>
                  </a:moveTo>
                  <a:cubicBezTo>
                    <a:pt x="117" y="200"/>
                    <a:pt x="91" y="218"/>
                    <a:pt x="62" y="232"/>
                  </a:cubicBezTo>
                  <a:cubicBezTo>
                    <a:pt x="49" y="185"/>
                    <a:pt x="33" y="141"/>
                    <a:pt x="21" y="104"/>
                  </a:cubicBezTo>
                  <a:cubicBezTo>
                    <a:pt x="16" y="90"/>
                    <a:pt x="12" y="77"/>
                    <a:pt x="8" y="65"/>
                  </a:cubicBezTo>
                  <a:cubicBezTo>
                    <a:pt x="0" y="41"/>
                    <a:pt x="13" y="16"/>
                    <a:pt x="36" y="8"/>
                  </a:cubicBezTo>
                  <a:cubicBezTo>
                    <a:pt x="59" y="0"/>
                    <a:pt x="85" y="13"/>
                    <a:pt x="93" y="37"/>
                  </a:cubicBezTo>
                  <a:cubicBezTo>
                    <a:pt x="96" y="48"/>
                    <a:pt x="101" y="61"/>
                    <a:pt x="106" y="75"/>
                  </a:cubicBezTo>
                  <a:cubicBezTo>
                    <a:pt x="116" y="105"/>
                    <a:pt x="128" y="140"/>
                    <a:pt x="140" y="178"/>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68" name="Freeform 10">
              <a:extLst>
                <a:ext uri="{FF2B5EF4-FFF2-40B4-BE49-F238E27FC236}">
                  <a16:creationId xmlns:a16="http://schemas.microsoft.com/office/drawing/2014/main" id="{9EEF7143-4C01-48AD-9DF6-80B5F8EB3F12}"/>
                </a:ext>
              </a:extLst>
            </p:cNvPr>
            <p:cNvSpPr>
              <a:spLocks/>
            </p:cNvSpPr>
            <p:nvPr/>
          </p:nvSpPr>
          <p:spPr bwMode="auto">
            <a:xfrm>
              <a:off x="3961494" y="1821699"/>
              <a:ext cx="259793" cy="179918"/>
            </a:xfrm>
            <a:custGeom>
              <a:avLst/>
              <a:gdLst>
                <a:gd name="T0" fmla="*/ 344 w 344"/>
                <a:gd name="T1" fmla="*/ 236 h 236"/>
                <a:gd name="T2" fmla="*/ 344 w 344"/>
                <a:gd name="T3" fmla="*/ 196 h 236"/>
                <a:gd name="T4" fmla="*/ 332 w 344"/>
                <a:gd name="T5" fmla="*/ 13 h 236"/>
                <a:gd name="T6" fmla="*/ 264 w 344"/>
                <a:gd name="T7" fmla="*/ 0 h 236"/>
                <a:gd name="T8" fmla="*/ 152 w 344"/>
                <a:gd name="T9" fmla="*/ 87 h 236"/>
                <a:gd name="T10" fmla="*/ 64 w 344"/>
                <a:gd name="T11" fmla="*/ 6 h 236"/>
                <a:gd name="T12" fmla="*/ 12 w 344"/>
                <a:gd name="T13" fmla="*/ 16 h 236"/>
                <a:gd name="T14" fmla="*/ 0 w 344"/>
                <a:gd name="T15" fmla="*/ 196 h 236"/>
                <a:gd name="T16" fmla="*/ 1 w 344"/>
                <a:gd name="T17" fmla="*/ 23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4" h="236">
                  <a:moveTo>
                    <a:pt x="344" y="236"/>
                  </a:moveTo>
                  <a:cubicBezTo>
                    <a:pt x="344" y="196"/>
                    <a:pt x="344" y="196"/>
                    <a:pt x="344" y="196"/>
                  </a:cubicBezTo>
                  <a:cubicBezTo>
                    <a:pt x="325" y="141"/>
                    <a:pt x="332" y="13"/>
                    <a:pt x="332" y="13"/>
                  </a:cubicBezTo>
                  <a:cubicBezTo>
                    <a:pt x="264" y="0"/>
                    <a:pt x="264" y="0"/>
                    <a:pt x="264" y="0"/>
                  </a:cubicBezTo>
                  <a:cubicBezTo>
                    <a:pt x="152" y="87"/>
                    <a:pt x="152" y="87"/>
                    <a:pt x="152" y="87"/>
                  </a:cubicBezTo>
                  <a:cubicBezTo>
                    <a:pt x="64" y="6"/>
                    <a:pt x="64" y="6"/>
                    <a:pt x="64" y="6"/>
                  </a:cubicBezTo>
                  <a:cubicBezTo>
                    <a:pt x="12" y="16"/>
                    <a:pt x="12" y="16"/>
                    <a:pt x="12" y="16"/>
                  </a:cubicBezTo>
                  <a:cubicBezTo>
                    <a:pt x="12" y="16"/>
                    <a:pt x="19" y="141"/>
                    <a:pt x="0" y="196"/>
                  </a:cubicBezTo>
                  <a:cubicBezTo>
                    <a:pt x="1" y="231"/>
                    <a:pt x="1" y="231"/>
                    <a:pt x="1" y="231"/>
                  </a:cubicBezTo>
                </a:path>
              </a:pathLst>
            </a:custGeom>
            <a:solidFill>
              <a:srgbClr val="F04E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69" name="Freeform 11">
              <a:extLst>
                <a:ext uri="{FF2B5EF4-FFF2-40B4-BE49-F238E27FC236}">
                  <a16:creationId xmlns:a16="http://schemas.microsoft.com/office/drawing/2014/main" id="{1ED23995-9C2D-4220-A2E1-50C76A8D7E10}"/>
                </a:ext>
              </a:extLst>
            </p:cNvPr>
            <p:cNvSpPr>
              <a:spLocks/>
            </p:cNvSpPr>
            <p:nvPr/>
          </p:nvSpPr>
          <p:spPr bwMode="auto">
            <a:xfrm>
              <a:off x="3954233" y="1851551"/>
              <a:ext cx="140385" cy="29852"/>
            </a:xfrm>
            <a:custGeom>
              <a:avLst/>
              <a:gdLst>
                <a:gd name="T0" fmla="*/ 0 w 174"/>
                <a:gd name="T1" fmla="*/ 37 h 37"/>
                <a:gd name="T2" fmla="*/ 174 w 174"/>
                <a:gd name="T3" fmla="*/ 0 h 37"/>
                <a:gd name="T4" fmla="*/ 0 w 174"/>
                <a:gd name="T5" fmla="*/ 37 h 37"/>
              </a:gdLst>
              <a:ahLst/>
              <a:cxnLst>
                <a:cxn ang="0">
                  <a:pos x="T0" y="T1"/>
                </a:cxn>
                <a:cxn ang="0">
                  <a:pos x="T2" y="T3"/>
                </a:cxn>
                <a:cxn ang="0">
                  <a:pos x="T4" y="T5"/>
                </a:cxn>
              </a:cxnLst>
              <a:rect l="0" t="0" r="r" b="b"/>
              <a:pathLst>
                <a:path w="174" h="37">
                  <a:moveTo>
                    <a:pt x="0" y="37"/>
                  </a:moveTo>
                  <a:lnTo>
                    <a:pt x="174" y="0"/>
                  </a:lnTo>
                  <a:lnTo>
                    <a:pt x="0" y="37"/>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70" name="Line 12">
              <a:extLst>
                <a:ext uri="{FF2B5EF4-FFF2-40B4-BE49-F238E27FC236}">
                  <a16:creationId xmlns:a16="http://schemas.microsoft.com/office/drawing/2014/main" id="{839ADC69-9BFB-4E0D-94E8-D58EB3FB97AA}"/>
                </a:ext>
              </a:extLst>
            </p:cNvPr>
            <p:cNvSpPr>
              <a:spLocks noChangeShapeType="1"/>
            </p:cNvSpPr>
            <p:nvPr/>
          </p:nvSpPr>
          <p:spPr bwMode="auto">
            <a:xfrm flipV="1">
              <a:off x="3954233" y="1851551"/>
              <a:ext cx="140385" cy="2985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71" name="Freeform 13">
              <a:extLst>
                <a:ext uri="{FF2B5EF4-FFF2-40B4-BE49-F238E27FC236}">
                  <a16:creationId xmlns:a16="http://schemas.microsoft.com/office/drawing/2014/main" id="{7F3958A3-8374-453E-9A7F-A433DCB3A2AB}"/>
                </a:ext>
              </a:extLst>
            </p:cNvPr>
            <p:cNvSpPr>
              <a:spLocks/>
            </p:cNvSpPr>
            <p:nvPr/>
          </p:nvSpPr>
          <p:spPr bwMode="auto">
            <a:xfrm>
              <a:off x="3944551" y="1805563"/>
              <a:ext cx="158941" cy="122635"/>
            </a:xfrm>
            <a:custGeom>
              <a:avLst/>
              <a:gdLst>
                <a:gd name="T0" fmla="*/ 23 w 197"/>
                <a:gd name="T1" fmla="*/ 152 h 152"/>
                <a:gd name="T2" fmla="*/ 0 w 197"/>
                <a:gd name="T3" fmla="*/ 35 h 152"/>
                <a:gd name="T4" fmla="*/ 173 w 197"/>
                <a:gd name="T5" fmla="*/ 0 h 152"/>
                <a:gd name="T6" fmla="*/ 197 w 197"/>
                <a:gd name="T7" fmla="*/ 116 h 152"/>
                <a:gd name="T8" fmla="*/ 23 w 197"/>
                <a:gd name="T9" fmla="*/ 152 h 152"/>
              </a:gdLst>
              <a:ahLst/>
              <a:cxnLst>
                <a:cxn ang="0">
                  <a:pos x="T0" y="T1"/>
                </a:cxn>
                <a:cxn ang="0">
                  <a:pos x="T2" y="T3"/>
                </a:cxn>
                <a:cxn ang="0">
                  <a:pos x="T4" y="T5"/>
                </a:cxn>
                <a:cxn ang="0">
                  <a:pos x="T6" y="T7"/>
                </a:cxn>
                <a:cxn ang="0">
                  <a:pos x="T8" y="T9"/>
                </a:cxn>
              </a:cxnLst>
              <a:rect l="0" t="0" r="r" b="b"/>
              <a:pathLst>
                <a:path w="197" h="152">
                  <a:moveTo>
                    <a:pt x="23" y="152"/>
                  </a:moveTo>
                  <a:lnTo>
                    <a:pt x="0" y="35"/>
                  </a:lnTo>
                  <a:lnTo>
                    <a:pt x="173" y="0"/>
                  </a:lnTo>
                  <a:lnTo>
                    <a:pt x="197" y="116"/>
                  </a:lnTo>
                  <a:lnTo>
                    <a:pt x="23" y="152"/>
                  </a:lnTo>
                  <a:close/>
                </a:path>
              </a:pathLst>
            </a:custGeom>
            <a:solidFill>
              <a:srgbClr val="FCB7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72" name="Freeform 14">
              <a:extLst>
                <a:ext uri="{FF2B5EF4-FFF2-40B4-BE49-F238E27FC236}">
                  <a16:creationId xmlns:a16="http://schemas.microsoft.com/office/drawing/2014/main" id="{F58F9421-56B0-4522-BA49-5E77B1958372}"/>
                </a:ext>
              </a:extLst>
            </p:cNvPr>
            <p:cNvSpPr>
              <a:spLocks/>
            </p:cNvSpPr>
            <p:nvPr/>
          </p:nvSpPr>
          <p:spPr bwMode="auto">
            <a:xfrm>
              <a:off x="4094617" y="1851551"/>
              <a:ext cx="139578" cy="29852"/>
            </a:xfrm>
            <a:custGeom>
              <a:avLst/>
              <a:gdLst>
                <a:gd name="T0" fmla="*/ 173 w 173"/>
                <a:gd name="T1" fmla="*/ 37 h 37"/>
                <a:gd name="T2" fmla="*/ 0 w 173"/>
                <a:gd name="T3" fmla="*/ 0 h 37"/>
                <a:gd name="T4" fmla="*/ 173 w 173"/>
                <a:gd name="T5" fmla="*/ 37 h 37"/>
              </a:gdLst>
              <a:ahLst/>
              <a:cxnLst>
                <a:cxn ang="0">
                  <a:pos x="T0" y="T1"/>
                </a:cxn>
                <a:cxn ang="0">
                  <a:pos x="T2" y="T3"/>
                </a:cxn>
                <a:cxn ang="0">
                  <a:pos x="T4" y="T5"/>
                </a:cxn>
              </a:cxnLst>
              <a:rect l="0" t="0" r="r" b="b"/>
              <a:pathLst>
                <a:path w="173" h="37">
                  <a:moveTo>
                    <a:pt x="173" y="37"/>
                  </a:moveTo>
                  <a:lnTo>
                    <a:pt x="0" y="0"/>
                  </a:lnTo>
                  <a:lnTo>
                    <a:pt x="173" y="37"/>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73" name="Line 15">
              <a:extLst>
                <a:ext uri="{FF2B5EF4-FFF2-40B4-BE49-F238E27FC236}">
                  <a16:creationId xmlns:a16="http://schemas.microsoft.com/office/drawing/2014/main" id="{212FC7B3-10E1-408D-8A70-A34C3A52B4A3}"/>
                </a:ext>
              </a:extLst>
            </p:cNvPr>
            <p:cNvSpPr>
              <a:spLocks noChangeShapeType="1"/>
            </p:cNvSpPr>
            <p:nvPr/>
          </p:nvSpPr>
          <p:spPr bwMode="auto">
            <a:xfrm flipH="1" flipV="1">
              <a:off x="4094617" y="1851551"/>
              <a:ext cx="139578" cy="2985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74" name="Freeform 16">
              <a:extLst>
                <a:ext uri="{FF2B5EF4-FFF2-40B4-BE49-F238E27FC236}">
                  <a16:creationId xmlns:a16="http://schemas.microsoft.com/office/drawing/2014/main" id="{6861D100-3575-4EFE-8760-ABD756C7DEE1}"/>
                </a:ext>
              </a:extLst>
            </p:cNvPr>
            <p:cNvSpPr>
              <a:spLocks/>
            </p:cNvSpPr>
            <p:nvPr/>
          </p:nvSpPr>
          <p:spPr bwMode="auto">
            <a:xfrm>
              <a:off x="4084129" y="1805563"/>
              <a:ext cx="158941" cy="122635"/>
            </a:xfrm>
            <a:custGeom>
              <a:avLst/>
              <a:gdLst>
                <a:gd name="T0" fmla="*/ 174 w 197"/>
                <a:gd name="T1" fmla="*/ 152 h 152"/>
                <a:gd name="T2" fmla="*/ 0 w 197"/>
                <a:gd name="T3" fmla="*/ 116 h 152"/>
                <a:gd name="T4" fmla="*/ 24 w 197"/>
                <a:gd name="T5" fmla="*/ 0 h 152"/>
                <a:gd name="T6" fmla="*/ 197 w 197"/>
                <a:gd name="T7" fmla="*/ 35 h 152"/>
                <a:gd name="T8" fmla="*/ 174 w 197"/>
                <a:gd name="T9" fmla="*/ 152 h 152"/>
              </a:gdLst>
              <a:ahLst/>
              <a:cxnLst>
                <a:cxn ang="0">
                  <a:pos x="T0" y="T1"/>
                </a:cxn>
                <a:cxn ang="0">
                  <a:pos x="T2" y="T3"/>
                </a:cxn>
                <a:cxn ang="0">
                  <a:pos x="T4" y="T5"/>
                </a:cxn>
                <a:cxn ang="0">
                  <a:pos x="T6" y="T7"/>
                </a:cxn>
                <a:cxn ang="0">
                  <a:pos x="T8" y="T9"/>
                </a:cxn>
              </a:cxnLst>
              <a:rect l="0" t="0" r="r" b="b"/>
              <a:pathLst>
                <a:path w="197" h="152">
                  <a:moveTo>
                    <a:pt x="174" y="152"/>
                  </a:moveTo>
                  <a:lnTo>
                    <a:pt x="0" y="116"/>
                  </a:lnTo>
                  <a:lnTo>
                    <a:pt x="24" y="0"/>
                  </a:lnTo>
                  <a:lnTo>
                    <a:pt x="197" y="35"/>
                  </a:lnTo>
                  <a:lnTo>
                    <a:pt x="174" y="152"/>
                  </a:lnTo>
                  <a:close/>
                </a:path>
              </a:pathLst>
            </a:custGeom>
            <a:solidFill>
              <a:srgbClr val="FCB7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75" name="Freeform 17">
              <a:extLst>
                <a:ext uri="{FF2B5EF4-FFF2-40B4-BE49-F238E27FC236}">
                  <a16:creationId xmlns:a16="http://schemas.microsoft.com/office/drawing/2014/main" id="{8FA229E8-5ADA-43F4-9A73-C4A96B0B8820}"/>
                </a:ext>
              </a:extLst>
            </p:cNvPr>
            <p:cNvSpPr>
              <a:spLocks/>
            </p:cNvSpPr>
            <p:nvPr/>
          </p:nvSpPr>
          <p:spPr bwMode="auto">
            <a:xfrm>
              <a:off x="3961494" y="1821699"/>
              <a:ext cx="259793" cy="179918"/>
            </a:xfrm>
            <a:custGeom>
              <a:avLst/>
              <a:gdLst>
                <a:gd name="T0" fmla="*/ 344 w 344"/>
                <a:gd name="T1" fmla="*/ 236 h 236"/>
                <a:gd name="T2" fmla="*/ 344 w 344"/>
                <a:gd name="T3" fmla="*/ 196 h 236"/>
                <a:gd name="T4" fmla="*/ 332 w 344"/>
                <a:gd name="T5" fmla="*/ 13 h 236"/>
                <a:gd name="T6" fmla="*/ 264 w 344"/>
                <a:gd name="T7" fmla="*/ 0 h 236"/>
                <a:gd name="T8" fmla="*/ 152 w 344"/>
                <a:gd name="T9" fmla="*/ 87 h 236"/>
                <a:gd name="T10" fmla="*/ 64 w 344"/>
                <a:gd name="T11" fmla="*/ 6 h 236"/>
                <a:gd name="T12" fmla="*/ 12 w 344"/>
                <a:gd name="T13" fmla="*/ 16 h 236"/>
                <a:gd name="T14" fmla="*/ 0 w 344"/>
                <a:gd name="T15" fmla="*/ 196 h 236"/>
                <a:gd name="T16" fmla="*/ 1 w 344"/>
                <a:gd name="T17" fmla="*/ 23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4" h="236">
                  <a:moveTo>
                    <a:pt x="344" y="236"/>
                  </a:moveTo>
                  <a:cubicBezTo>
                    <a:pt x="344" y="196"/>
                    <a:pt x="344" y="196"/>
                    <a:pt x="344" y="196"/>
                  </a:cubicBezTo>
                  <a:cubicBezTo>
                    <a:pt x="325" y="141"/>
                    <a:pt x="332" y="13"/>
                    <a:pt x="332" y="13"/>
                  </a:cubicBezTo>
                  <a:cubicBezTo>
                    <a:pt x="264" y="0"/>
                    <a:pt x="264" y="0"/>
                    <a:pt x="264" y="0"/>
                  </a:cubicBezTo>
                  <a:cubicBezTo>
                    <a:pt x="152" y="87"/>
                    <a:pt x="152" y="87"/>
                    <a:pt x="152" y="87"/>
                  </a:cubicBezTo>
                  <a:cubicBezTo>
                    <a:pt x="64" y="6"/>
                    <a:pt x="64" y="6"/>
                    <a:pt x="64" y="6"/>
                  </a:cubicBezTo>
                  <a:cubicBezTo>
                    <a:pt x="12" y="16"/>
                    <a:pt x="12" y="16"/>
                    <a:pt x="12" y="16"/>
                  </a:cubicBezTo>
                  <a:cubicBezTo>
                    <a:pt x="12" y="16"/>
                    <a:pt x="19" y="141"/>
                    <a:pt x="0" y="196"/>
                  </a:cubicBezTo>
                  <a:cubicBezTo>
                    <a:pt x="1" y="231"/>
                    <a:pt x="1" y="231"/>
                    <a:pt x="1" y="231"/>
                  </a:cubicBezTo>
                </a:path>
              </a:pathLst>
            </a:custGeom>
            <a:solidFill>
              <a:srgbClr val="F04E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76" name="Freeform 18">
              <a:extLst>
                <a:ext uri="{FF2B5EF4-FFF2-40B4-BE49-F238E27FC236}">
                  <a16:creationId xmlns:a16="http://schemas.microsoft.com/office/drawing/2014/main" id="{455C078D-5EC0-4B56-A8EB-4AE288B2D926}"/>
                </a:ext>
              </a:extLst>
            </p:cNvPr>
            <p:cNvSpPr>
              <a:spLocks/>
            </p:cNvSpPr>
            <p:nvPr/>
          </p:nvSpPr>
          <p:spPr bwMode="auto">
            <a:xfrm>
              <a:off x="4002641" y="1816051"/>
              <a:ext cx="179112" cy="94397"/>
            </a:xfrm>
            <a:custGeom>
              <a:avLst/>
              <a:gdLst>
                <a:gd name="T0" fmla="*/ 193 w 237"/>
                <a:gd name="T1" fmla="*/ 22 h 124"/>
                <a:gd name="T2" fmla="*/ 172 w 237"/>
                <a:gd name="T3" fmla="*/ 5 h 124"/>
                <a:gd name="T4" fmla="*/ 147 w 237"/>
                <a:gd name="T5" fmla="*/ 1 h 124"/>
                <a:gd name="T6" fmla="*/ 139 w 237"/>
                <a:gd name="T7" fmla="*/ 16 h 124"/>
                <a:gd name="T8" fmla="*/ 133 w 237"/>
                <a:gd name="T9" fmla="*/ 18 h 124"/>
                <a:gd name="T10" fmla="*/ 129 w 237"/>
                <a:gd name="T11" fmla="*/ 12 h 124"/>
                <a:gd name="T12" fmla="*/ 120 w 237"/>
                <a:gd name="T13" fmla="*/ 16 h 124"/>
                <a:gd name="T14" fmla="*/ 81 w 237"/>
                <a:gd name="T15" fmla="*/ 19 h 124"/>
                <a:gd name="T16" fmla="*/ 0 w 237"/>
                <a:gd name="T17" fmla="*/ 33 h 124"/>
                <a:gd name="T18" fmla="*/ 121 w 237"/>
                <a:gd name="T19" fmla="*/ 120 h 124"/>
                <a:gd name="T20" fmla="*/ 237 w 237"/>
                <a:gd name="T21" fmla="*/ 29 h 124"/>
                <a:gd name="T22" fmla="*/ 193 w 237"/>
                <a:gd name="T23" fmla="*/ 2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7" h="124">
                  <a:moveTo>
                    <a:pt x="193" y="22"/>
                  </a:moveTo>
                  <a:cubicBezTo>
                    <a:pt x="183" y="20"/>
                    <a:pt x="176" y="14"/>
                    <a:pt x="172" y="5"/>
                  </a:cubicBezTo>
                  <a:cubicBezTo>
                    <a:pt x="164" y="4"/>
                    <a:pt x="155" y="3"/>
                    <a:pt x="147" y="1"/>
                  </a:cubicBezTo>
                  <a:cubicBezTo>
                    <a:pt x="142" y="0"/>
                    <a:pt x="144" y="16"/>
                    <a:pt x="139" y="16"/>
                  </a:cubicBezTo>
                  <a:cubicBezTo>
                    <a:pt x="136" y="15"/>
                    <a:pt x="136" y="18"/>
                    <a:pt x="133" y="18"/>
                  </a:cubicBezTo>
                  <a:cubicBezTo>
                    <a:pt x="132" y="18"/>
                    <a:pt x="130" y="12"/>
                    <a:pt x="129" y="12"/>
                  </a:cubicBezTo>
                  <a:cubicBezTo>
                    <a:pt x="124" y="12"/>
                    <a:pt x="125" y="16"/>
                    <a:pt x="120" y="16"/>
                  </a:cubicBezTo>
                  <a:cubicBezTo>
                    <a:pt x="116" y="27"/>
                    <a:pt x="91" y="17"/>
                    <a:pt x="81" y="19"/>
                  </a:cubicBezTo>
                  <a:cubicBezTo>
                    <a:pt x="54" y="25"/>
                    <a:pt x="27" y="27"/>
                    <a:pt x="0" y="33"/>
                  </a:cubicBezTo>
                  <a:cubicBezTo>
                    <a:pt x="23" y="81"/>
                    <a:pt x="67" y="124"/>
                    <a:pt x="121" y="120"/>
                  </a:cubicBezTo>
                  <a:cubicBezTo>
                    <a:pt x="172" y="117"/>
                    <a:pt x="219" y="75"/>
                    <a:pt x="237" y="29"/>
                  </a:cubicBezTo>
                  <a:cubicBezTo>
                    <a:pt x="222" y="28"/>
                    <a:pt x="207" y="25"/>
                    <a:pt x="193" y="22"/>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77" name="Freeform 19">
              <a:extLst>
                <a:ext uri="{FF2B5EF4-FFF2-40B4-BE49-F238E27FC236}">
                  <a16:creationId xmlns:a16="http://schemas.microsoft.com/office/drawing/2014/main" id="{ABE8382A-78D8-428C-9201-E68818AF7B46}"/>
                </a:ext>
              </a:extLst>
            </p:cNvPr>
            <p:cNvSpPr>
              <a:spLocks/>
            </p:cNvSpPr>
            <p:nvPr/>
          </p:nvSpPr>
          <p:spPr bwMode="auto">
            <a:xfrm>
              <a:off x="3997800" y="1815244"/>
              <a:ext cx="187180" cy="37113"/>
            </a:xfrm>
            <a:custGeom>
              <a:avLst/>
              <a:gdLst>
                <a:gd name="T0" fmla="*/ 65 w 232"/>
                <a:gd name="T1" fmla="*/ 10 h 46"/>
                <a:gd name="T2" fmla="*/ 145 w 232"/>
                <a:gd name="T3" fmla="*/ 27 h 46"/>
                <a:gd name="T4" fmla="*/ 161 w 232"/>
                <a:gd name="T5" fmla="*/ 0 h 46"/>
                <a:gd name="T6" fmla="*/ 232 w 232"/>
                <a:gd name="T7" fmla="*/ 14 h 46"/>
                <a:gd name="T8" fmla="*/ 228 w 232"/>
                <a:gd name="T9" fmla="*/ 28 h 46"/>
                <a:gd name="T10" fmla="*/ 202 w 232"/>
                <a:gd name="T11" fmla="*/ 45 h 46"/>
                <a:gd name="T12" fmla="*/ 78 w 232"/>
                <a:gd name="T13" fmla="*/ 46 h 46"/>
                <a:gd name="T14" fmla="*/ 6 w 232"/>
                <a:gd name="T15" fmla="*/ 32 h 46"/>
                <a:gd name="T16" fmla="*/ 0 w 232"/>
                <a:gd name="T17" fmla="*/ 17 h 46"/>
                <a:gd name="T18" fmla="*/ 64 w 232"/>
                <a:gd name="T19" fmla="*/ 3 h 46"/>
                <a:gd name="T20" fmla="*/ 65 w 232"/>
                <a:gd name="T21" fmla="*/ 1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2" h="46">
                  <a:moveTo>
                    <a:pt x="65" y="10"/>
                  </a:moveTo>
                  <a:lnTo>
                    <a:pt x="145" y="27"/>
                  </a:lnTo>
                  <a:lnTo>
                    <a:pt x="161" y="0"/>
                  </a:lnTo>
                  <a:lnTo>
                    <a:pt x="232" y="14"/>
                  </a:lnTo>
                  <a:lnTo>
                    <a:pt x="228" y="28"/>
                  </a:lnTo>
                  <a:lnTo>
                    <a:pt x="202" y="45"/>
                  </a:lnTo>
                  <a:lnTo>
                    <a:pt x="78" y="46"/>
                  </a:lnTo>
                  <a:lnTo>
                    <a:pt x="6" y="32"/>
                  </a:lnTo>
                  <a:lnTo>
                    <a:pt x="0" y="17"/>
                  </a:lnTo>
                  <a:lnTo>
                    <a:pt x="64" y="3"/>
                  </a:lnTo>
                  <a:lnTo>
                    <a:pt x="65" y="10"/>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78" name="Freeform 20">
              <a:extLst>
                <a:ext uri="{FF2B5EF4-FFF2-40B4-BE49-F238E27FC236}">
                  <a16:creationId xmlns:a16="http://schemas.microsoft.com/office/drawing/2014/main" id="{A84FED1D-CB51-4C2E-8133-1C1B6414A3F7}"/>
                </a:ext>
              </a:extLst>
            </p:cNvPr>
            <p:cNvSpPr>
              <a:spLocks/>
            </p:cNvSpPr>
            <p:nvPr/>
          </p:nvSpPr>
          <p:spPr bwMode="auto">
            <a:xfrm>
              <a:off x="4002641" y="1654689"/>
              <a:ext cx="32272" cy="75840"/>
            </a:xfrm>
            <a:custGeom>
              <a:avLst/>
              <a:gdLst>
                <a:gd name="T0" fmla="*/ 36 w 43"/>
                <a:gd name="T1" fmla="*/ 99 h 99"/>
                <a:gd name="T2" fmla="*/ 3 w 43"/>
                <a:gd name="T3" fmla="*/ 53 h 99"/>
                <a:gd name="T4" fmla="*/ 43 w 43"/>
                <a:gd name="T5" fmla="*/ 0 h 99"/>
                <a:gd name="T6" fmla="*/ 36 w 43"/>
                <a:gd name="T7" fmla="*/ 99 h 99"/>
              </a:gdLst>
              <a:ahLst/>
              <a:cxnLst>
                <a:cxn ang="0">
                  <a:pos x="T0" y="T1"/>
                </a:cxn>
                <a:cxn ang="0">
                  <a:pos x="T2" y="T3"/>
                </a:cxn>
                <a:cxn ang="0">
                  <a:pos x="T4" y="T5"/>
                </a:cxn>
                <a:cxn ang="0">
                  <a:pos x="T6" y="T7"/>
                </a:cxn>
              </a:cxnLst>
              <a:rect l="0" t="0" r="r" b="b"/>
              <a:pathLst>
                <a:path w="43" h="99">
                  <a:moveTo>
                    <a:pt x="36" y="99"/>
                  </a:moveTo>
                  <a:cubicBezTo>
                    <a:pt x="15" y="99"/>
                    <a:pt x="0" y="81"/>
                    <a:pt x="3" y="53"/>
                  </a:cubicBezTo>
                  <a:cubicBezTo>
                    <a:pt x="6" y="27"/>
                    <a:pt x="24" y="0"/>
                    <a:pt x="43" y="0"/>
                  </a:cubicBezTo>
                  <a:lnTo>
                    <a:pt x="36" y="99"/>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79" name="Freeform 21">
              <a:extLst>
                <a:ext uri="{FF2B5EF4-FFF2-40B4-BE49-F238E27FC236}">
                  <a16:creationId xmlns:a16="http://schemas.microsoft.com/office/drawing/2014/main" id="{D6C6E3CB-51B0-4A3C-8142-7C383BC65B4F}"/>
                </a:ext>
              </a:extLst>
            </p:cNvPr>
            <p:cNvSpPr>
              <a:spLocks/>
            </p:cNvSpPr>
            <p:nvPr/>
          </p:nvSpPr>
          <p:spPr bwMode="auto">
            <a:xfrm>
              <a:off x="4149481" y="1654689"/>
              <a:ext cx="32272" cy="75840"/>
            </a:xfrm>
            <a:custGeom>
              <a:avLst/>
              <a:gdLst>
                <a:gd name="T0" fmla="*/ 7 w 43"/>
                <a:gd name="T1" fmla="*/ 99 h 99"/>
                <a:gd name="T2" fmla="*/ 40 w 43"/>
                <a:gd name="T3" fmla="*/ 53 h 99"/>
                <a:gd name="T4" fmla="*/ 0 w 43"/>
                <a:gd name="T5" fmla="*/ 0 h 99"/>
                <a:gd name="T6" fmla="*/ 7 w 43"/>
                <a:gd name="T7" fmla="*/ 99 h 99"/>
              </a:gdLst>
              <a:ahLst/>
              <a:cxnLst>
                <a:cxn ang="0">
                  <a:pos x="T0" y="T1"/>
                </a:cxn>
                <a:cxn ang="0">
                  <a:pos x="T2" y="T3"/>
                </a:cxn>
                <a:cxn ang="0">
                  <a:pos x="T4" y="T5"/>
                </a:cxn>
                <a:cxn ang="0">
                  <a:pos x="T6" y="T7"/>
                </a:cxn>
              </a:cxnLst>
              <a:rect l="0" t="0" r="r" b="b"/>
              <a:pathLst>
                <a:path w="43" h="99">
                  <a:moveTo>
                    <a:pt x="7" y="99"/>
                  </a:moveTo>
                  <a:cubicBezTo>
                    <a:pt x="28" y="99"/>
                    <a:pt x="43" y="81"/>
                    <a:pt x="40" y="53"/>
                  </a:cubicBezTo>
                  <a:cubicBezTo>
                    <a:pt x="38" y="27"/>
                    <a:pt x="20" y="0"/>
                    <a:pt x="0" y="0"/>
                  </a:cubicBezTo>
                  <a:lnTo>
                    <a:pt x="7" y="99"/>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80" name="Freeform 22">
              <a:extLst>
                <a:ext uri="{FF2B5EF4-FFF2-40B4-BE49-F238E27FC236}">
                  <a16:creationId xmlns:a16="http://schemas.microsoft.com/office/drawing/2014/main" id="{0B0F6B3E-FD45-4A53-A0BC-2BF94244211D}"/>
                </a:ext>
              </a:extLst>
            </p:cNvPr>
            <p:cNvSpPr>
              <a:spLocks noEditPoints="1"/>
            </p:cNvSpPr>
            <p:nvPr/>
          </p:nvSpPr>
          <p:spPr bwMode="auto">
            <a:xfrm>
              <a:off x="4142219" y="1718427"/>
              <a:ext cx="54056" cy="55670"/>
            </a:xfrm>
            <a:custGeom>
              <a:avLst/>
              <a:gdLst>
                <a:gd name="T0" fmla="*/ 61 w 71"/>
                <a:gd name="T1" fmla="*/ 11 h 73"/>
                <a:gd name="T2" fmla="*/ 43 w 71"/>
                <a:gd name="T3" fmla="*/ 1 h 73"/>
                <a:gd name="T4" fmla="*/ 35 w 71"/>
                <a:gd name="T5" fmla="*/ 0 h 73"/>
                <a:gd name="T6" fmla="*/ 35 w 71"/>
                <a:gd name="T7" fmla="*/ 0 h 73"/>
                <a:gd name="T8" fmla="*/ 26 w 71"/>
                <a:gd name="T9" fmla="*/ 1 h 73"/>
                <a:gd name="T10" fmla="*/ 15 w 71"/>
                <a:gd name="T11" fmla="*/ 6 h 73"/>
                <a:gd name="T12" fmla="*/ 0 w 71"/>
                <a:gd name="T13" fmla="*/ 37 h 73"/>
                <a:gd name="T14" fmla="*/ 5 w 71"/>
                <a:gd name="T15" fmla="*/ 55 h 73"/>
                <a:gd name="T16" fmla="*/ 35 w 71"/>
                <a:gd name="T17" fmla="*/ 73 h 73"/>
                <a:gd name="T18" fmla="*/ 59 w 71"/>
                <a:gd name="T19" fmla="*/ 64 h 73"/>
                <a:gd name="T20" fmla="*/ 71 w 71"/>
                <a:gd name="T21" fmla="*/ 37 h 73"/>
                <a:gd name="T22" fmla="*/ 61 w 71"/>
                <a:gd name="T23" fmla="*/ 11 h 73"/>
                <a:gd name="T24" fmla="*/ 57 w 71"/>
                <a:gd name="T25" fmla="*/ 56 h 73"/>
                <a:gd name="T26" fmla="*/ 35 w 71"/>
                <a:gd name="T27" fmla="*/ 66 h 73"/>
                <a:gd name="T28" fmla="*/ 9 w 71"/>
                <a:gd name="T29" fmla="*/ 48 h 73"/>
                <a:gd name="T30" fmla="*/ 7 w 71"/>
                <a:gd name="T31" fmla="*/ 37 h 73"/>
                <a:gd name="T32" fmla="*/ 16 w 71"/>
                <a:gd name="T33" fmla="*/ 15 h 73"/>
                <a:gd name="T34" fmla="*/ 24 w 71"/>
                <a:gd name="T35" fmla="*/ 10 h 73"/>
                <a:gd name="T36" fmla="*/ 35 w 71"/>
                <a:gd name="T37" fmla="*/ 7 h 73"/>
                <a:gd name="T38" fmla="*/ 35 w 71"/>
                <a:gd name="T39" fmla="*/ 7 h 73"/>
                <a:gd name="T40" fmla="*/ 38 w 71"/>
                <a:gd name="T41" fmla="*/ 8 h 73"/>
                <a:gd name="T42" fmla="*/ 59 w 71"/>
                <a:gd name="T43" fmla="*/ 21 h 73"/>
                <a:gd name="T44" fmla="*/ 64 w 71"/>
                <a:gd name="T45" fmla="*/ 37 h 73"/>
                <a:gd name="T46" fmla="*/ 57 w 71"/>
                <a:gd name="T47" fmla="*/ 5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73">
                  <a:moveTo>
                    <a:pt x="61" y="11"/>
                  </a:moveTo>
                  <a:cubicBezTo>
                    <a:pt x="56" y="6"/>
                    <a:pt x="50" y="3"/>
                    <a:pt x="43" y="1"/>
                  </a:cubicBezTo>
                  <a:cubicBezTo>
                    <a:pt x="41" y="0"/>
                    <a:pt x="38" y="0"/>
                    <a:pt x="35" y="0"/>
                  </a:cubicBezTo>
                  <a:cubicBezTo>
                    <a:pt x="35" y="0"/>
                    <a:pt x="35" y="0"/>
                    <a:pt x="35" y="0"/>
                  </a:cubicBezTo>
                  <a:cubicBezTo>
                    <a:pt x="32" y="0"/>
                    <a:pt x="29" y="0"/>
                    <a:pt x="26" y="1"/>
                  </a:cubicBezTo>
                  <a:cubicBezTo>
                    <a:pt x="22" y="2"/>
                    <a:pt x="19" y="4"/>
                    <a:pt x="15" y="6"/>
                  </a:cubicBezTo>
                  <a:cubicBezTo>
                    <a:pt x="6" y="13"/>
                    <a:pt x="0" y="24"/>
                    <a:pt x="0" y="37"/>
                  </a:cubicBezTo>
                  <a:cubicBezTo>
                    <a:pt x="0" y="43"/>
                    <a:pt x="2" y="50"/>
                    <a:pt x="5" y="55"/>
                  </a:cubicBezTo>
                  <a:cubicBezTo>
                    <a:pt x="11" y="66"/>
                    <a:pt x="22" y="73"/>
                    <a:pt x="35" y="73"/>
                  </a:cubicBezTo>
                  <a:cubicBezTo>
                    <a:pt x="44" y="73"/>
                    <a:pt x="52" y="70"/>
                    <a:pt x="59" y="64"/>
                  </a:cubicBezTo>
                  <a:cubicBezTo>
                    <a:pt x="66" y="58"/>
                    <a:pt x="71" y="48"/>
                    <a:pt x="71" y="37"/>
                  </a:cubicBezTo>
                  <a:cubicBezTo>
                    <a:pt x="71" y="27"/>
                    <a:pt x="67" y="18"/>
                    <a:pt x="61" y="11"/>
                  </a:cubicBezTo>
                  <a:close/>
                  <a:moveTo>
                    <a:pt x="57" y="56"/>
                  </a:moveTo>
                  <a:cubicBezTo>
                    <a:pt x="52" y="62"/>
                    <a:pt x="44" y="66"/>
                    <a:pt x="35" y="66"/>
                  </a:cubicBezTo>
                  <a:cubicBezTo>
                    <a:pt x="23" y="66"/>
                    <a:pt x="13" y="58"/>
                    <a:pt x="9" y="48"/>
                  </a:cubicBezTo>
                  <a:cubicBezTo>
                    <a:pt x="8" y="44"/>
                    <a:pt x="7" y="41"/>
                    <a:pt x="7" y="37"/>
                  </a:cubicBezTo>
                  <a:cubicBezTo>
                    <a:pt x="7" y="28"/>
                    <a:pt x="10" y="20"/>
                    <a:pt x="16" y="15"/>
                  </a:cubicBezTo>
                  <a:cubicBezTo>
                    <a:pt x="18" y="13"/>
                    <a:pt x="21" y="11"/>
                    <a:pt x="24" y="10"/>
                  </a:cubicBezTo>
                  <a:cubicBezTo>
                    <a:pt x="27" y="8"/>
                    <a:pt x="31" y="7"/>
                    <a:pt x="35" y="7"/>
                  </a:cubicBezTo>
                  <a:cubicBezTo>
                    <a:pt x="35" y="7"/>
                    <a:pt x="35" y="7"/>
                    <a:pt x="35" y="7"/>
                  </a:cubicBezTo>
                  <a:cubicBezTo>
                    <a:pt x="36" y="7"/>
                    <a:pt x="37" y="7"/>
                    <a:pt x="38" y="8"/>
                  </a:cubicBezTo>
                  <a:cubicBezTo>
                    <a:pt x="47" y="8"/>
                    <a:pt x="55" y="14"/>
                    <a:pt x="59" y="21"/>
                  </a:cubicBezTo>
                  <a:cubicBezTo>
                    <a:pt x="62" y="25"/>
                    <a:pt x="64" y="31"/>
                    <a:pt x="64" y="37"/>
                  </a:cubicBezTo>
                  <a:cubicBezTo>
                    <a:pt x="64" y="44"/>
                    <a:pt x="61" y="51"/>
                    <a:pt x="57" y="56"/>
                  </a:cubicBezTo>
                  <a:close/>
                </a:path>
              </a:pathLst>
            </a:custGeom>
            <a:solidFill>
              <a:srgbClr val="E206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81" name="Freeform 23">
              <a:extLst>
                <a:ext uri="{FF2B5EF4-FFF2-40B4-BE49-F238E27FC236}">
                  <a16:creationId xmlns:a16="http://schemas.microsoft.com/office/drawing/2014/main" id="{8F14BD6F-8F4C-467F-AE22-C926544B168D}"/>
                </a:ext>
              </a:extLst>
            </p:cNvPr>
            <p:cNvSpPr>
              <a:spLocks noEditPoints="1"/>
            </p:cNvSpPr>
            <p:nvPr/>
          </p:nvSpPr>
          <p:spPr bwMode="auto">
            <a:xfrm>
              <a:off x="4001028" y="1718427"/>
              <a:ext cx="54056" cy="55670"/>
            </a:xfrm>
            <a:custGeom>
              <a:avLst/>
              <a:gdLst>
                <a:gd name="T0" fmla="*/ 39 w 71"/>
                <a:gd name="T1" fmla="*/ 0 h 73"/>
                <a:gd name="T2" fmla="*/ 35 w 71"/>
                <a:gd name="T3" fmla="*/ 0 h 73"/>
                <a:gd name="T4" fmla="*/ 35 w 71"/>
                <a:gd name="T5" fmla="*/ 0 h 73"/>
                <a:gd name="T6" fmla="*/ 28 w 71"/>
                <a:gd name="T7" fmla="*/ 1 h 73"/>
                <a:gd name="T8" fmla="*/ 15 w 71"/>
                <a:gd name="T9" fmla="*/ 6 h 73"/>
                <a:gd name="T10" fmla="*/ 0 w 71"/>
                <a:gd name="T11" fmla="*/ 37 h 73"/>
                <a:gd name="T12" fmla="*/ 35 w 71"/>
                <a:gd name="T13" fmla="*/ 73 h 73"/>
                <a:gd name="T14" fmla="*/ 57 w 71"/>
                <a:gd name="T15" fmla="*/ 65 h 73"/>
                <a:gd name="T16" fmla="*/ 61 w 71"/>
                <a:gd name="T17" fmla="*/ 61 h 73"/>
                <a:gd name="T18" fmla="*/ 71 w 71"/>
                <a:gd name="T19" fmla="*/ 37 h 73"/>
                <a:gd name="T20" fmla="*/ 71 w 71"/>
                <a:gd name="T21" fmla="*/ 37 h 73"/>
                <a:gd name="T22" fmla="*/ 39 w 71"/>
                <a:gd name="T23" fmla="*/ 0 h 73"/>
                <a:gd name="T24" fmla="*/ 62 w 71"/>
                <a:gd name="T25" fmla="*/ 46 h 73"/>
                <a:gd name="T26" fmla="*/ 53 w 71"/>
                <a:gd name="T27" fmla="*/ 60 h 73"/>
                <a:gd name="T28" fmla="*/ 35 w 71"/>
                <a:gd name="T29" fmla="*/ 66 h 73"/>
                <a:gd name="T30" fmla="*/ 7 w 71"/>
                <a:gd name="T31" fmla="*/ 37 h 73"/>
                <a:gd name="T32" fmla="*/ 21 w 71"/>
                <a:gd name="T33" fmla="*/ 11 h 73"/>
                <a:gd name="T34" fmla="*/ 30 w 71"/>
                <a:gd name="T35" fmla="*/ 8 h 73"/>
                <a:gd name="T36" fmla="*/ 35 w 71"/>
                <a:gd name="T37" fmla="*/ 7 h 73"/>
                <a:gd name="T38" fmla="*/ 39 w 71"/>
                <a:gd name="T39" fmla="*/ 8 h 73"/>
                <a:gd name="T40" fmla="*/ 64 w 71"/>
                <a:gd name="T41" fmla="*/ 37 h 73"/>
                <a:gd name="T42" fmla="*/ 64 w 71"/>
                <a:gd name="T43" fmla="*/ 37 h 73"/>
                <a:gd name="T44" fmla="*/ 62 w 71"/>
                <a:gd name="T45" fmla="*/ 4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1" h="73">
                  <a:moveTo>
                    <a:pt x="39" y="0"/>
                  </a:moveTo>
                  <a:cubicBezTo>
                    <a:pt x="38" y="0"/>
                    <a:pt x="37" y="0"/>
                    <a:pt x="35" y="0"/>
                  </a:cubicBezTo>
                  <a:cubicBezTo>
                    <a:pt x="35" y="0"/>
                    <a:pt x="35" y="0"/>
                    <a:pt x="35" y="0"/>
                  </a:cubicBezTo>
                  <a:cubicBezTo>
                    <a:pt x="33" y="0"/>
                    <a:pt x="30" y="0"/>
                    <a:pt x="28" y="1"/>
                  </a:cubicBezTo>
                  <a:cubicBezTo>
                    <a:pt x="24" y="2"/>
                    <a:pt x="19" y="4"/>
                    <a:pt x="15" y="6"/>
                  </a:cubicBezTo>
                  <a:cubicBezTo>
                    <a:pt x="6" y="13"/>
                    <a:pt x="0" y="24"/>
                    <a:pt x="0" y="37"/>
                  </a:cubicBezTo>
                  <a:cubicBezTo>
                    <a:pt x="0" y="57"/>
                    <a:pt x="16" y="73"/>
                    <a:pt x="35" y="73"/>
                  </a:cubicBezTo>
                  <a:cubicBezTo>
                    <a:pt x="44" y="73"/>
                    <a:pt x="51" y="70"/>
                    <a:pt x="57" y="65"/>
                  </a:cubicBezTo>
                  <a:cubicBezTo>
                    <a:pt x="59" y="64"/>
                    <a:pt x="60" y="63"/>
                    <a:pt x="61" y="61"/>
                  </a:cubicBezTo>
                  <a:cubicBezTo>
                    <a:pt x="67" y="55"/>
                    <a:pt x="71" y="46"/>
                    <a:pt x="71" y="37"/>
                  </a:cubicBezTo>
                  <a:cubicBezTo>
                    <a:pt x="71" y="37"/>
                    <a:pt x="71" y="37"/>
                    <a:pt x="71" y="37"/>
                  </a:cubicBezTo>
                  <a:cubicBezTo>
                    <a:pt x="71" y="18"/>
                    <a:pt x="58" y="3"/>
                    <a:pt x="39" y="0"/>
                  </a:cubicBezTo>
                  <a:close/>
                  <a:moveTo>
                    <a:pt x="62" y="46"/>
                  </a:moveTo>
                  <a:cubicBezTo>
                    <a:pt x="61" y="51"/>
                    <a:pt x="57" y="56"/>
                    <a:pt x="53" y="60"/>
                  </a:cubicBezTo>
                  <a:cubicBezTo>
                    <a:pt x="48" y="63"/>
                    <a:pt x="42" y="66"/>
                    <a:pt x="35" y="66"/>
                  </a:cubicBezTo>
                  <a:cubicBezTo>
                    <a:pt x="20" y="66"/>
                    <a:pt x="7" y="53"/>
                    <a:pt x="7" y="37"/>
                  </a:cubicBezTo>
                  <a:cubicBezTo>
                    <a:pt x="7" y="26"/>
                    <a:pt x="13" y="16"/>
                    <a:pt x="21" y="11"/>
                  </a:cubicBezTo>
                  <a:cubicBezTo>
                    <a:pt x="24" y="10"/>
                    <a:pt x="27" y="8"/>
                    <a:pt x="30" y="8"/>
                  </a:cubicBezTo>
                  <a:cubicBezTo>
                    <a:pt x="32" y="8"/>
                    <a:pt x="34" y="7"/>
                    <a:pt x="35" y="7"/>
                  </a:cubicBezTo>
                  <a:cubicBezTo>
                    <a:pt x="37" y="7"/>
                    <a:pt x="38" y="7"/>
                    <a:pt x="39" y="8"/>
                  </a:cubicBezTo>
                  <a:cubicBezTo>
                    <a:pt x="53" y="10"/>
                    <a:pt x="64" y="22"/>
                    <a:pt x="64" y="37"/>
                  </a:cubicBezTo>
                  <a:cubicBezTo>
                    <a:pt x="64" y="37"/>
                    <a:pt x="64" y="37"/>
                    <a:pt x="64" y="37"/>
                  </a:cubicBezTo>
                  <a:cubicBezTo>
                    <a:pt x="64" y="40"/>
                    <a:pt x="63" y="43"/>
                    <a:pt x="62" y="46"/>
                  </a:cubicBezTo>
                  <a:close/>
                </a:path>
              </a:pathLst>
            </a:custGeom>
            <a:solidFill>
              <a:srgbClr val="E206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82" name="Freeform 24">
              <a:extLst>
                <a:ext uri="{FF2B5EF4-FFF2-40B4-BE49-F238E27FC236}">
                  <a16:creationId xmlns:a16="http://schemas.microsoft.com/office/drawing/2014/main" id="{37124EBA-F058-4B08-B4D3-EE15EE0C1C85}"/>
                </a:ext>
              </a:extLst>
            </p:cNvPr>
            <p:cNvSpPr>
              <a:spLocks/>
            </p:cNvSpPr>
            <p:nvPr/>
          </p:nvSpPr>
          <p:spPr bwMode="auto">
            <a:xfrm>
              <a:off x="4005868" y="1746666"/>
              <a:ext cx="177498" cy="107305"/>
            </a:xfrm>
            <a:custGeom>
              <a:avLst/>
              <a:gdLst>
                <a:gd name="T0" fmla="*/ 172 w 235"/>
                <a:gd name="T1" fmla="*/ 0 h 141"/>
                <a:gd name="T2" fmla="*/ 176 w 235"/>
                <a:gd name="T3" fmla="*/ 94 h 141"/>
                <a:gd name="T4" fmla="*/ 235 w 235"/>
                <a:gd name="T5" fmla="*/ 105 h 141"/>
                <a:gd name="T6" fmla="*/ 115 w 235"/>
                <a:gd name="T7" fmla="*/ 141 h 141"/>
                <a:gd name="T8" fmla="*/ 0 w 235"/>
                <a:gd name="T9" fmla="*/ 110 h 141"/>
                <a:gd name="T10" fmla="*/ 52 w 235"/>
                <a:gd name="T11" fmla="*/ 94 h 141"/>
                <a:gd name="T12" fmla="*/ 57 w 235"/>
                <a:gd name="T13" fmla="*/ 0 h 141"/>
                <a:gd name="T14" fmla="*/ 172 w 235"/>
                <a:gd name="T15" fmla="*/ 0 h 1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5" h="141">
                  <a:moveTo>
                    <a:pt x="172" y="0"/>
                  </a:moveTo>
                  <a:cubicBezTo>
                    <a:pt x="176" y="94"/>
                    <a:pt x="176" y="94"/>
                    <a:pt x="176" y="94"/>
                  </a:cubicBezTo>
                  <a:cubicBezTo>
                    <a:pt x="235" y="105"/>
                    <a:pt x="235" y="105"/>
                    <a:pt x="235" y="105"/>
                  </a:cubicBezTo>
                  <a:cubicBezTo>
                    <a:pt x="221" y="113"/>
                    <a:pt x="148" y="141"/>
                    <a:pt x="115" y="141"/>
                  </a:cubicBezTo>
                  <a:cubicBezTo>
                    <a:pt x="81" y="141"/>
                    <a:pt x="14" y="118"/>
                    <a:pt x="0" y="110"/>
                  </a:cubicBezTo>
                  <a:cubicBezTo>
                    <a:pt x="52" y="94"/>
                    <a:pt x="52" y="94"/>
                    <a:pt x="52" y="94"/>
                  </a:cubicBezTo>
                  <a:cubicBezTo>
                    <a:pt x="57" y="0"/>
                    <a:pt x="57" y="0"/>
                    <a:pt x="57" y="0"/>
                  </a:cubicBezTo>
                  <a:lnTo>
                    <a:pt x="172" y="0"/>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83" name="Freeform 25">
              <a:extLst>
                <a:ext uri="{FF2B5EF4-FFF2-40B4-BE49-F238E27FC236}">
                  <a16:creationId xmlns:a16="http://schemas.microsoft.com/office/drawing/2014/main" id="{3970280E-A896-490B-A8C0-FBEA3054E00E}"/>
                </a:ext>
              </a:extLst>
            </p:cNvPr>
            <p:cNvSpPr>
              <a:spLocks/>
            </p:cNvSpPr>
            <p:nvPr/>
          </p:nvSpPr>
          <p:spPr bwMode="auto">
            <a:xfrm>
              <a:off x="4015550" y="1581270"/>
              <a:ext cx="153294" cy="213804"/>
            </a:xfrm>
            <a:custGeom>
              <a:avLst/>
              <a:gdLst>
                <a:gd name="T0" fmla="*/ 102 w 203"/>
                <a:gd name="T1" fmla="*/ 281 h 281"/>
                <a:gd name="T2" fmla="*/ 129 w 203"/>
                <a:gd name="T3" fmla="*/ 272 h 281"/>
                <a:gd name="T4" fmla="*/ 203 w 203"/>
                <a:gd name="T5" fmla="*/ 127 h 281"/>
                <a:gd name="T6" fmla="*/ 192 w 203"/>
                <a:gd name="T7" fmla="*/ 63 h 281"/>
                <a:gd name="T8" fmla="*/ 102 w 203"/>
                <a:gd name="T9" fmla="*/ 0 h 281"/>
                <a:gd name="T10" fmla="*/ 11 w 203"/>
                <a:gd name="T11" fmla="*/ 63 h 281"/>
                <a:gd name="T12" fmla="*/ 0 w 203"/>
                <a:gd name="T13" fmla="*/ 127 h 281"/>
                <a:gd name="T14" fmla="*/ 75 w 203"/>
                <a:gd name="T15" fmla="*/ 272 h 281"/>
                <a:gd name="T16" fmla="*/ 102 w 203"/>
                <a:gd name="T17"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81">
                  <a:moveTo>
                    <a:pt x="102" y="281"/>
                  </a:moveTo>
                  <a:cubicBezTo>
                    <a:pt x="122" y="281"/>
                    <a:pt x="127" y="276"/>
                    <a:pt x="129" y="272"/>
                  </a:cubicBezTo>
                  <a:cubicBezTo>
                    <a:pt x="187" y="250"/>
                    <a:pt x="197" y="178"/>
                    <a:pt x="203" y="127"/>
                  </a:cubicBezTo>
                  <a:cubicBezTo>
                    <a:pt x="192" y="63"/>
                    <a:pt x="192" y="63"/>
                    <a:pt x="192" y="63"/>
                  </a:cubicBezTo>
                  <a:cubicBezTo>
                    <a:pt x="185" y="29"/>
                    <a:pt x="134" y="0"/>
                    <a:pt x="102" y="0"/>
                  </a:cubicBezTo>
                  <a:cubicBezTo>
                    <a:pt x="70" y="0"/>
                    <a:pt x="18" y="29"/>
                    <a:pt x="11" y="63"/>
                  </a:cubicBezTo>
                  <a:cubicBezTo>
                    <a:pt x="0" y="127"/>
                    <a:pt x="0" y="127"/>
                    <a:pt x="0" y="127"/>
                  </a:cubicBezTo>
                  <a:cubicBezTo>
                    <a:pt x="7" y="178"/>
                    <a:pt x="17" y="250"/>
                    <a:pt x="75" y="272"/>
                  </a:cubicBezTo>
                  <a:cubicBezTo>
                    <a:pt x="76" y="276"/>
                    <a:pt x="82" y="281"/>
                    <a:pt x="102" y="281"/>
                  </a:cubicBez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84" name="Freeform 26">
              <a:extLst>
                <a:ext uri="{FF2B5EF4-FFF2-40B4-BE49-F238E27FC236}">
                  <a16:creationId xmlns:a16="http://schemas.microsoft.com/office/drawing/2014/main" id="{5FB3307C-7795-49F0-9026-802CFFE3C55F}"/>
                </a:ext>
              </a:extLst>
            </p:cNvPr>
            <p:cNvSpPr>
              <a:spLocks/>
            </p:cNvSpPr>
            <p:nvPr/>
          </p:nvSpPr>
          <p:spPr bwMode="auto">
            <a:xfrm>
              <a:off x="4118015" y="1675666"/>
              <a:ext cx="12102" cy="11295"/>
            </a:xfrm>
            <a:custGeom>
              <a:avLst/>
              <a:gdLst>
                <a:gd name="T0" fmla="*/ 8 w 16"/>
                <a:gd name="T1" fmla="*/ 15 h 15"/>
                <a:gd name="T2" fmla="*/ 0 w 16"/>
                <a:gd name="T3" fmla="*/ 7 h 15"/>
                <a:gd name="T4" fmla="*/ 8 w 16"/>
                <a:gd name="T5" fmla="*/ 0 h 15"/>
                <a:gd name="T6" fmla="*/ 16 w 16"/>
                <a:gd name="T7" fmla="*/ 8 h 15"/>
                <a:gd name="T8" fmla="*/ 8 w 16"/>
                <a:gd name="T9" fmla="*/ 15 h 15"/>
              </a:gdLst>
              <a:ahLst/>
              <a:cxnLst>
                <a:cxn ang="0">
                  <a:pos x="T0" y="T1"/>
                </a:cxn>
                <a:cxn ang="0">
                  <a:pos x="T2" y="T3"/>
                </a:cxn>
                <a:cxn ang="0">
                  <a:pos x="T4" y="T5"/>
                </a:cxn>
                <a:cxn ang="0">
                  <a:pos x="T6" y="T7"/>
                </a:cxn>
                <a:cxn ang="0">
                  <a:pos x="T8" y="T9"/>
                </a:cxn>
              </a:cxnLst>
              <a:rect l="0" t="0" r="r" b="b"/>
              <a:pathLst>
                <a:path w="16" h="15">
                  <a:moveTo>
                    <a:pt x="8" y="15"/>
                  </a:moveTo>
                  <a:cubicBezTo>
                    <a:pt x="4" y="15"/>
                    <a:pt x="0" y="12"/>
                    <a:pt x="0" y="7"/>
                  </a:cubicBezTo>
                  <a:cubicBezTo>
                    <a:pt x="1" y="4"/>
                    <a:pt x="4" y="0"/>
                    <a:pt x="8" y="0"/>
                  </a:cubicBezTo>
                  <a:cubicBezTo>
                    <a:pt x="12" y="0"/>
                    <a:pt x="16" y="4"/>
                    <a:pt x="16" y="8"/>
                  </a:cubicBezTo>
                  <a:cubicBezTo>
                    <a:pt x="15" y="12"/>
                    <a:pt x="12" y="15"/>
                    <a:pt x="8"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85" name="Freeform 27">
              <a:extLst>
                <a:ext uri="{FF2B5EF4-FFF2-40B4-BE49-F238E27FC236}">
                  <a16:creationId xmlns:a16="http://schemas.microsoft.com/office/drawing/2014/main" id="{67CD9465-88A0-4AB5-AE54-4EFEE700FB30}"/>
                </a:ext>
              </a:extLst>
            </p:cNvPr>
            <p:cNvSpPr>
              <a:spLocks/>
            </p:cNvSpPr>
            <p:nvPr/>
          </p:nvSpPr>
          <p:spPr bwMode="auto">
            <a:xfrm>
              <a:off x="4055891" y="1675666"/>
              <a:ext cx="11295" cy="11295"/>
            </a:xfrm>
            <a:custGeom>
              <a:avLst/>
              <a:gdLst>
                <a:gd name="T0" fmla="*/ 7 w 15"/>
                <a:gd name="T1" fmla="*/ 15 h 15"/>
                <a:gd name="T2" fmla="*/ 15 w 15"/>
                <a:gd name="T3" fmla="*/ 7 h 15"/>
                <a:gd name="T4" fmla="*/ 7 w 15"/>
                <a:gd name="T5" fmla="*/ 0 h 15"/>
                <a:gd name="T6" fmla="*/ 0 w 15"/>
                <a:gd name="T7" fmla="*/ 8 h 15"/>
                <a:gd name="T8" fmla="*/ 7 w 15"/>
                <a:gd name="T9" fmla="*/ 15 h 15"/>
              </a:gdLst>
              <a:ahLst/>
              <a:cxnLst>
                <a:cxn ang="0">
                  <a:pos x="T0" y="T1"/>
                </a:cxn>
                <a:cxn ang="0">
                  <a:pos x="T2" y="T3"/>
                </a:cxn>
                <a:cxn ang="0">
                  <a:pos x="T4" y="T5"/>
                </a:cxn>
                <a:cxn ang="0">
                  <a:pos x="T6" y="T7"/>
                </a:cxn>
                <a:cxn ang="0">
                  <a:pos x="T8" y="T9"/>
                </a:cxn>
              </a:cxnLst>
              <a:rect l="0" t="0" r="r" b="b"/>
              <a:pathLst>
                <a:path w="15" h="15">
                  <a:moveTo>
                    <a:pt x="7" y="15"/>
                  </a:moveTo>
                  <a:cubicBezTo>
                    <a:pt x="12" y="15"/>
                    <a:pt x="15" y="12"/>
                    <a:pt x="15" y="7"/>
                  </a:cubicBezTo>
                  <a:cubicBezTo>
                    <a:pt x="15" y="4"/>
                    <a:pt x="11" y="0"/>
                    <a:pt x="7" y="0"/>
                  </a:cubicBezTo>
                  <a:cubicBezTo>
                    <a:pt x="3" y="0"/>
                    <a:pt x="0" y="4"/>
                    <a:pt x="0" y="8"/>
                  </a:cubicBezTo>
                  <a:cubicBezTo>
                    <a:pt x="0" y="12"/>
                    <a:pt x="3" y="15"/>
                    <a:pt x="7"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86" name="Freeform 28">
              <a:extLst>
                <a:ext uri="{FF2B5EF4-FFF2-40B4-BE49-F238E27FC236}">
                  <a16:creationId xmlns:a16="http://schemas.microsoft.com/office/drawing/2014/main" id="{1D5A8A66-FD51-4082-97A9-478B8669A118}"/>
                </a:ext>
              </a:extLst>
            </p:cNvPr>
            <p:cNvSpPr>
              <a:spLocks/>
            </p:cNvSpPr>
            <p:nvPr/>
          </p:nvSpPr>
          <p:spPr bwMode="auto">
            <a:xfrm>
              <a:off x="4001834" y="1562713"/>
              <a:ext cx="189600" cy="175884"/>
            </a:xfrm>
            <a:custGeom>
              <a:avLst/>
              <a:gdLst>
                <a:gd name="T0" fmla="*/ 251 w 251"/>
                <a:gd name="T1" fmla="*/ 143 h 231"/>
                <a:gd name="T2" fmla="*/ 212 w 251"/>
                <a:gd name="T3" fmla="*/ 37 h 231"/>
                <a:gd name="T4" fmla="*/ 193 w 251"/>
                <a:gd name="T5" fmla="*/ 29 h 231"/>
                <a:gd name="T6" fmla="*/ 119 w 251"/>
                <a:gd name="T7" fmla="*/ 0 h 231"/>
                <a:gd name="T8" fmla="*/ 0 w 251"/>
                <a:gd name="T9" fmla="*/ 127 h 231"/>
                <a:gd name="T10" fmla="*/ 31 w 251"/>
                <a:gd name="T11" fmla="*/ 172 h 231"/>
                <a:gd name="T12" fmla="*/ 126 w 251"/>
                <a:gd name="T13" fmla="*/ 82 h 231"/>
                <a:gd name="T14" fmla="*/ 162 w 251"/>
                <a:gd name="T15" fmla="*/ 85 h 231"/>
                <a:gd name="T16" fmla="*/ 235 w 251"/>
                <a:gd name="T17" fmla="*/ 178 h 231"/>
                <a:gd name="T18" fmla="*/ 249 w 251"/>
                <a:gd name="T19" fmla="*/ 164 h 231"/>
                <a:gd name="T20" fmla="*/ 251 w 251"/>
                <a:gd name="T21" fmla="*/ 143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1" h="231">
                  <a:moveTo>
                    <a:pt x="251" y="143"/>
                  </a:moveTo>
                  <a:cubicBezTo>
                    <a:pt x="249" y="94"/>
                    <a:pt x="236" y="53"/>
                    <a:pt x="212" y="37"/>
                  </a:cubicBezTo>
                  <a:cubicBezTo>
                    <a:pt x="206" y="31"/>
                    <a:pt x="199" y="29"/>
                    <a:pt x="193" y="29"/>
                  </a:cubicBezTo>
                  <a:cubicBezTo>
                    <a:pt x="193" y="29"/>
                    <a:pt x="183" y="0"/>
                    <a:pt x="119" y="0"/>
                  </a:cubicBezTo>
                  <a:cubicBezTo>
                    <a:pt x="63" y="0"/>
                    <a:pt x="0" y="26"/>
                    <a:pt x="0" y="127"/>
                  </a:cubicBezTo>
                  <a:cubicBezTo>
                    <a:pt x="0" y="150"/>
                    <a:pt x="32" y="231"/>
                    <a:pt x="31" y="172"/>
                  </a:cubicBezTo>
                  <a:cubicBezTo>
                    <a:pt x="38" y="106"/>
                    <a:pt x="52" y="73"/>
                    <a:pt x="126" y="82"/>
                  </a:cubicBezTo>
                  <a:cubicBezTo>
                    <a:pt x="134" y="83"/>
                    <a:pt x="154" y="88"/>
                    <a:pt x="162" y="85"/>
                  </a:cubicBezTo>
                  <a:cubicBezTo>
                    <a:pt x="235" y="94"/>
                    <a:pt x="193" y="157"/>
                    <a:pt x="235" y="178"/>
                  </a:cubicBezTo>
                  <a:cubicBezTo>
                    <a:pt x="236" y="178"/>
                    <a:pt x="245" y="182"/>
                    <a:pt x="249" y="164"/>
                  </a:cubicBezTo>
                  <a:cubicBezTo>
                    <a:pt x="250" y="156"/>
                    <a:pt x="251" y="143"/>
                    <a:pt x="251" y="14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87" name="Freeform 29">
              <a:extLst>
                <a:ext uri="{FF2B5EF4-FFF2-40B4-BE49-F238E27FC236}">
                  <a16:creationId xmlns:a16="http://schemas.microsoft.com/office/drawing/2014/main" id="{B207C21B-F7F8-450A-92AF-BB5721F1EDBD}"/>
                </a:ext>
              </a:extLst>
            </p:cNvPr>
            <p:cNvSpPr>
              <a:spLocks/>
            </p:cNvSpPr>
            <p:nvPr/>
          </p:nvSpPr>
          <p:spPr bwMode="auto">
            <a:xfrm>
              <a:off x="4047016" y="1771677"/>
              <a:ext cx="89556" cy="29045"/>
            </a:xfrm>
            <a:custGeom>
              <a:avLst/>
              <a:gdLst>
                <a:gd name="T0" fmla="*/ 118 w 118"/>
                <a:gd name="T1" fmla="*/ 1 h 38"/>
                <a:gd name="T2" fmla="*/ 118 w 118"/>
                <a:gd name="T3" fmla="*/ 1 h 38"/>
                <a:gd name="T4" fmla="*/ 97 w 118"/>
                <a:gd name="T5" fmla="*/ 17 h 38"/>
                <a:gd name="T6" fmla="*/ 94 w 118"/>
                <a:gd name="T7" fmla="*/ 19 h 38"/>
                <a:gd name="T8" fmla="*/ 91 w 118"/>
                <a:gd name="T9" fmla="*/ 20 h 38"/>
                <a:gd name="T10" fmla="*/ 87 w 118"/>
                <a:gd name="T11" fmla="*/ 22 h 38"/>
                <a:gd name="T12" fmla="*/ 85 w 118"/>
                <a:gd name="T13" fmla="*/ 25 h 38"/>
                <a:gd name="T14" fmla="*/ 80 w 118"/>
                <a:gd name="T15" fmla="*/ 28 h 38"/>
                <a:gd name="T16" fmla="*/ 60 w 118"/>
                <a:gd name="T17" fmla="*/ 31 h 38"/>
                <a:gd name="T18" fmla="*/ 38 w 118"/>
                <a:gd name="T19" fmla="*/ 27 h 38"/>
                <a:gd name="T20" fmla="*/ 36 w 118"/>
                <a:gd name="T21" fmla="*/ 26 h 38"/>
                <a:gd name="T22" fmla="*/ 35 w 118"/>
                <a:gd name="T23" fmla="*/ 25 h 38"/>
                <a:gd name="T24" fmla="*/ 34 w 118"/>
                <a:gd name="T25" fmla="*/ 24 h 38"/>
                <a:gd name="T26" fmla="*/ 34 w 118"/>
                <a:gd name="T27" fmla="*/ 24 h 38"/>
                <a:gd name="T28" fmla="*/ 33 w 118"/>
                <a:gd name="T29" fmla="*/ 22 h 38"/>
                <a:gd name="T30" fmla="*/ 28 w 118"/>
                <a:gd name="T31" fmla="*/ 20 h 38"/>
                <a:gd name="T32" fmla="*/ 26 w 118"/>
                <a:gd name="T33" fmla="*/ 19 h 38"/>
                <a:gd name="T34" fmla="*/ 23 w 118"/>
                <a:gd name="T35" fmla="*/ 17 h 38"/>
                <a:gd name="T36" fmla="*/ 2 w 118"/>
                <a:gd name="T37" fmla="*/ 2 h 38"/>
                <a:gd name="T38" fmla="*/ 0 w 118"/>
                <a:gd name="T39" fmla="*/ 0 h 38"/>
                <a:gd name="T40" fmla="*/ 0 w 118"/>
                <a:gd name="T41" fmla="*/ 7 h 38"/>
                <a:gd name="T42" fmla="*/ 33 w 118"/>
                <a:gd name="T43" fmla="*/ 29 h 38"/>
                <a:gd name="T44" fmla="*/ 60 w 118"/>
                <a:gd name="T45" fmla="*/ 38 h 38"/>
                <a:gd name="T46" fmla="*/ 87 w 118"/>
                <a:gd name="T47" fmla="*/ 29 h 38"/>
                <a:gd name="T48" fmla="*/ 118 w 118"/>
                <a:gd name="T49" fmla="*/ 8 h 38"/>
                <a:gd name="T50" fmla="*/ 118 w 118"/>
                <a:gd name="T51"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8" h="38">
                  <a:moveTo>
                    <a:pt x="118" y="1"/>
                  </a:moveTo>
                  <a:cubicBezTo>
                    <a:pt x="118" y="1"/>
                    <a:pt x="118" y="1"/>
                    <a:pt x="118" y="1"/>
                  </a:cubicBezTo>
                  <a:cubicBezTo>
                    <a:pt x="110" y="9"/>
                    <a:pt x="103" y="13"/>
                    <a:pt x="97" y="17"/>
                  </a:cubicBezTo>
                  <a:cubicBezTo>
                    <a:pt x="96" y="17"/>
                    <a:pt x="95" y="18"/>
                    <a:pt x="94" y="19"/>
                  </a:cubicBezTo>
                  <a:cubicBezTo>
                    <a:pt x="93" y="19"/>
                    <a:pt x="92" y="19"/>
                    <a:pt x="91" y="20"/>
                  </a:cubicBezTo>
                  <a:cubicBezTo>
                    <a:pt x="90" y="20"/>
                    <a:pt x="88" y="21"/>
                    <a:pt x="87" y="22"/>
                  </a:cubicBezTo>
                  <a:cubicBezTo>
                    <a:pt x="86" y="23"/>
                    <a:pt x="86" y="24"/>
                    <a:pt x="85" y="25"/>
                  </a:cubicBezTo>
                  <a:cubicBezTo>
                    <a:pt x="84" y="26"/>
                    <a:pt x="82" y="27"/>
                    <a:pt x="80" y="28"/>
                  </a:cubicBezTo>
                  <a:cubicBezTo>
                    <a:pt x="76" y="30"/>
                    <a:pt x="70" y="31"/>
                    <a:pt x="60" y="31"/>
                  </a:cubicBezTo>
                  <a:cubicBezTo>
                    <a:pt x="48" y="31"/>
                    <a:pt x="42" y="30"/>
                    <a:pt x="38" y="27"/>
                  </a:cubicBezTo>
                  <a:cubicBezTo>
                    <a:pt x="37" y="27"/>
                    <a:pt x="36" y="26"/>
                    <a:pt x="36" y="26"/>
                  </a:cubicBezTo>
                  <a:cubicBezTo>
                    <a:pt x="35" y="25"/>
                    <a:pt x="35" y="25"/>
                    <a:pt x="35" y="25"/>
                  </a:cubicBezTo>
                  <a:cubicBezTo>
                    <a:pt x="35" y="25"/>
                    <a:pt x="35" y="25"/>
                    <a:pt x="34" y="24"/>
                  </a:cubicBezTo>
                  <a:cubicBezTo>
                    <a:pt x="34" y="24"/>
                    <a:pt x="34" y="24"/>
                    <a:pt x="34" y="24"/>
                  </a:cubicBezTo>
                  <a:cubicBezTo>
                    <a:pt x="33" y="23"/>
                    <a:pt x="33" y="22"/>
                    <a:pt x="33" y="22"/>
                  </a:cubicBezTo>
                  <a:cubicBezTo>
                    <a:pt x="31" y="21"/>
                    <a:pt x="29" y="20"/>
                    <a:pt x="28" y="20"/>
                  </a:cubicBezTo>
                  <a:cubicBezTo>
                    <a:pt x="27" y="19"/>
                    <a:pt x="26" y="19"/>
                    <a:pt x="26" y="19"/>
                  </a:cubicBezTo>
                  <a:cubicBezTo>
                    <a:pt x="25" y="18"/>
                    <a:pt x="24" y="18"/>
                    <a:pt x="23" y="17"/>
                  </a:cubicBezTo>
                  <a:cubicBezTo>
                    <a:pt x="17" y="14"/>
                    <a:pt x="11" y="9"/>
                    <a:pt x="2" y="2"/>
                  </a:cubicBezTo>
                  <a:cubicBezTo>
                    <a:pt x="2" y="1"/>
                    <a:pt x="1" y="1"/>
                    <a:pt x="0" y="0"/>
                  </a:cubicBezTo>
                  <a:cubicBezTo>
                    <a:pt x="0" y="7"/>
                    <a:pt x="0" y="7"/>
                    <a:pt x="0" y="7"/>
                  </a:cubicBezTo>
                  <a:cubicBezTo>
                    <a:pt x="15" y="20"/>
                    <a:pt x="23" y="25"/>
                    <a:pt x="33" y="29"/>
                  </a:cubicBezTo>
                  <a:cubicBezTo>
                    <a:pt x="34" y="33"/>
                    <a:pt x="40" y="38"/>
                    <a:pt x="60" y="38"/>
                  </a:cubicBezTo>
                  <a:cubicBezTo>
                    <a:pt x="80" y="38"/>
                    <a:pt x="85" y="33"/>
                    <a:pt x="87" y="29"/>
                  </a:cubicBezTo>
                  <a:cubicBezTo>
                    <a:pt x="96" y="25"/>
                    <a:pt x="105" y="20"/>
                    <a:pt x="118" y="8"/>
                  </a:cubicBezTo>
                  <a:lnTo>
                    <a:pt x="118" y="1"/>
                  </a:ln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88" name="Freeform 30">
              <a:extLst>
                <a:ext uri="{FF2B5EF4-FFF2-40B4-BE49-F238E27FC236}">
                  <a16:creationId xmlns:a16="http://schemas.microsoft.com/office/drawing/2014/main" id="{E77E31F4-538A-4FD7-B8BD-FB1FB16F53B5}"/>
                </a:ext>
              </a:extLst>
            </p:cNvPr>
            <p:cNvSpPr>
              <a:spLocks/>
            </p:cNvSpPr>
            <p:nvPr/>
          </p:nvSpPr>
          <p:spPr bwMode="auto">
            <a:xfrm>
              <a:off x="4065572" y="1750700"/>
              <a:ext cx="54056" cy="11295"/>
            </a:xfrm>
            <a:custGeom>
              <a:avLst/>
              <a:gdLst>
                <a:gd name="T0" fmla="*/ 36 w 72"/>
                <a:gd name="T1" fmla="*/ 14 h 14"/>
                <a:gd name="T2" fmla="*/ 4 w 72"/>
                <a:gd name="T3" fmla="*/ 9 h 14"/>
                <a:gd name="T4" fmla="*/ 0 w 72"/>
                <a:gd name="T5" fmla="*/ 4 h 14"/>
                <a:gd name="T6" fmla="*/ 6 w 72"/>
                <a:gd name="T7" fmla="*/ 0 h 14"/>
                <a:gd name="T8" fmla="*/ 66 w 72"/>
                <a:gd name="T9" fmla="*/ 0 h 14"/>
                <a:gd name="T10" fmla="*/ 71 w 72"/>
                <a:gd name="T11" fmla="*/ 4 h 14"/>
                <a:gd name="T12" fmla="*/ 68 w 72"/>
                <a:gd name="T13" fmla="*/ 9 h 14"/>
                <a:gd name="T14" fmla="*/ 36 w 7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4">
                  <a:moveTo>
                    <a:pt x="36" y="14"/>
                  </a:moveTo>
                  <a:cubicBezTo>
                    <a:pt x="26" y="14"/>
                    <a:pt x="16" y="12"/>
                    <a:pt x="4" y="9"/>
                  </a:cubicBezTo>
                  <a:cubicBezTo>
                    <a:pt x="1" y="9"/>
                    <a:pt x="0" y="6"/>
                    <a:pt x="0" y="4"/>
                  </a:cubicBezTo>
                  <a:cubicBezTo>
                    <a:pt x="1" y="1"/>
                    <a:pt x="3" y="0"/>
                    <a:pt x="6" y="0"/>
                  </a:cubicBezTo>
                  <a:cubicBezTo>
                    <a:pt x="29" y="6"/>
                    <a:pt x="43" y="6"/>
                    <a:pt x="66" y="0"/>
                  </a:cubicBezTo>
                  <a:cubicBezTo>
                    <a:pt x="68" y="0"/>
                    <a:pt x="71" y="1"/>
                    <a:pt x="71" y="4"/>
                  </a:cubicBezTo>
                  <a:cubicBezTo>
                    <a:pt x="72" y="6"/>
                    <a:pt x="70" y="9"/>
                    <a:pt x="68" y="9"/>
                  </a:cubicBezTo>
                  <a:cubicBezTo>
                    <a:pt x="56" y="12"/>
                    <a:pt x="46" y="14"/>
                    <a:pt x="36" y="14"/>
                  </a:cubicBezTo>
                  <a:close/>
                </a:path>
              </a:pathLst>
            </a:custGeom>
            <a:solidFill>
              <a:srgbClr val="E206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89" name="Freeform 31">
              <a:extLst>
                <a:ext uri="{FF2B5EF4-FFF2-40B4-BE49-F238E27FC236}">
                  <a16:creationId xmlns:a16="http://schemas.microsoft.com/office/drawing/2014/main" id="{507B162D-9262-48F3-A29B-36ADE43E374D}"/>
                </a:ext>
              </a:extLst>
            </p:cNvPr>
            <p:cNvSpPr>
              <a:spLocks/>
            </p:cNvSpPr>
            <p:nvPr/>
          </p:nvSpPr>
          <p:spPr bwMode="auto">
            <a:xfrm>
              <a:off x="4076868" y="1680507"/>
              <a:ext cx="16943" cy="44374"/>
            </a:xfrm>
            <a:custGeom>
              <a:avLst/>
              <a:gdLst>
                <a:gd name="T0" fmla="*/ 22 w 22"/>
                <a:gd name="T1" fmla="*/ 0 h 59"/>
                <a:gd name="T2" fmla="*/ 22 w 22"/>
                <a:gd name="T3" fmla="*/ 59 h 59"/>
                <a:gd name="T4" fmla="*/ 0 w 22"/>
                <a:gd name="T5" fmla="*/ 59 h 59"/>
                <a:gd name="T6" fmla="*/ 3 w 22"/>
                <a:gd name="T7" fmla="*/ 53 h 59"/>
                <a:gd name="T8" fmla="*/ 11 w 22"/>
                <a:gd name="T9" fmla="*/ 36 h 59"/>
                <a:gd name="T10" fmla="*/ 12 w 22"/>
                <a:gd name="T11" fmla="*/ 10 h 59"/>
                <a:gd name="T12" fmla="*/ 22 w 22"/>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22" h="59">
                  <a:moveTo>
                    <a:pt x="22" y="0"/>
                  </a:moveTo>
                  <a:cubicBezTo>
                    <a:pt x="22" y="59"/>
                    <a:pt x="22" y="59"/>
                    <a:pt x="22" y="59"/>
                  </a:cubicBezTo>
                  <a:cubicBezTo>
                    <a:pt x="0" y="59"/>
                    <a:pt x="0" y="59"/>
                    <a:pt x="0" y="59"/>
                  </a:cubicBezTo>
                  <a:cubicBezTo>
                    <a:pt x="0" y="57"/>
                    <a:pt x="1" y="55"/>
                    <a:pt x="3" y="53"/>
                  </a:cubicBezTo>
                  <a:cubicBezTo>
                    <a:pt x="7" y="50"/>
                    <a:pt x="10" y="43"/>
                    <a:pt x="11" y="36"/>
                  </a:cubicBezTo>
                  <a:cubicBezTo>
                    <a:pt x="12" y="10"/>
                    <a:pt x="12" y="10"/>
                    <a:pt x="12" y="10"/>
                  </a:cubicBezTo>
                  <a:cubicBezTo>
                    <a:pt x="12" y="2"/>
                    <a:pt x="20" y="0"/>
                    <a:pt x="22" y="0"/>
                  </a:cubicBezTo>
                  <a:close/>
                </a:path>
              </a:pathLst>
            </a:custGeom>
            <a:solidFill>
              <a:srgbClr val="E6C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90" name="Freeform 32">
              <a:extLst>
                <a:ext uri="{FF2B5EF4-FFF2-40B4-BE49-F238E27FC236}">
                  <a16:creationId xmlns:a16="http://schemas.microsoft.com/office/drawing/2014/main" id="{C81DF953-30A9-435C-8B81-717212F5730E}"/>
                </a:ext>
              </a:extLst>
            </p:cNvPr>
            <p:cNvSpPr>
              <a:spLocks/>
            </p:cNvSpPr>
            <p:nvPr/>
          </p:nvSpPr>
          <p:spPr bwMode="auto">
            <a:xfrm>
              <a:off x="4076868" y="1724882"/>
              <a:ext cx="33886" cy="12102"/>
            </a:xfrm>
            <a:custGeom>
              <a:avLst/>
              <a:gdLst>
                <a:gd name="T0" fmla="*/ 45 w 45"/>
                <a:gd name="T1" fmla="*/ 0 h 16"/>
                <a:gd name="T2" fmla="*/ 37 w 45"/>
                <a:gd name="T3" fmla="*/ 8 h 16"/>
                <a:gd name="T4" fmla="*/ 32 w 45"/>
                <a:gd name="T5" fmla="*/ 11 h 16"/>
                <a:gd name="T6" fmla="*/ 22 w 45"/>
                <a:gd name="T7" fmla="*/ 16 h 16"/>
                <a:gd name="T8" fmla="*/ 13 w 45"/>
                <a:gd name="T9" fmla="*/ 11 h 16"/>
                <a:gd name="T10" fmla="*/ 8 w 45"/>
                <a:gd name="T11" fmla="*/ 8 h 16"/>
                <a:gd name="T12" fmla="*/ 0 w 45"/>
                <a:gd name="T13" fmla="*/ 0 h 16"/>
                <a:gd name="T14" fmla="*/ 0 w 45"/>
                <a:gd name="T15" fmla="*/ 0 h 16"/>
                <a:gd name="T16" fmla="*/ 45 w 45"/>
                <a:gd name="T17" fmla="*/ 0 h 16"/>
                <a:gd name="T18" fmla="*/ 45 w 45"/>
                <a:gd name="T1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16">
                  <a:moveTo>
                    <a:pt x="45" y="0"/>
                  </a:moveTo>
                  <a:cubicBezTo>
                    <a:pt x="45" y="4"/>
                    <a:pt x="42" y="8"/>
                    <a:pt x="37" y="8"/>
                  </a:cubicBezTo>
                  <a:cubicBezTo>
                    <a:pt x="36" y="7"/>
                    <a:pt x="34" y="9"/>
                    <a:pt x="32" y="11"/>
                  </a:cubicBezTo>
                  <a:cubicBezTo>
                    <a:pt x="30" y="14"/>
                    <a:pt x="26" y="16"/>
                    <a:pt x="22" y="16"/>
                  </a:cubicBezTo>
                  <a:cubicBezTo>
                    <a:pt x="19" y="16"/>
                    <a:pt x="15" y="14"/>
                    <a:pt x="13" y="11"/>
                  </a:cubicBezTo>
                  <a:cubicBezTo>
                    <a:pt x="11" y="9"/>
                    <a:pt x="9" y="7"/>
                    <a:pt x="8" y="8"/>
                  </a:cubicBezTo>
                  <a:cubicBezTo>
                    <a:pt x="3" y="8"/>
                    <a:pt x="0" y="4"/>
                    <a:pt x="0" y="0"/>
                  </a:cubicBezTo>
                  <a:cubicBezTo>
                    <a:pt x="0" y="0"/>
                    <a:pt x="0" y="0"/>
                    <a:pt x="0" y="0"/>
                  </a:cubicBezTo>
                  <a:cubicBezTo>
                    <a:pt x="45" y="0"/>
                    <a:pt x="45" y="0"/>
                    <a:pt x="45" y="0"/>
                  </a:cubicBezTo>
                  <a:cubicBezTo>
                    <a:pt x="45" y="0"/>
                    <a:pt x="45" y="0"/>
                    <a:pt x="45" y="0"/>
                  </a:cubicBezTo>
                  <a:close/>
                </a:path>
              </a:pathLst>
            </a:custGeom>
            <a:solidFill>
              <a:srgbClr val="B897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91" name="Rectangle 33">
              <a:extLst>
                <a:ext uri="{FF2B5EF4-FFF2-40B4-BE49-F238E27FC236}">
                  <a16:creationId xmlns:a16="http://schemas.microsoft.com/office/drawing/2014/main" id="{8CC5FADE-BA63-4C83-95F5-DF52A674FFB5}"/>
                </a:ext>
              </a:extLst>
            </p:cNvPr>
            <p:cNvSpPr>
              <a:spLocks noChangeArrowheads="1"/>
            </p:cNvSpPr>
            <p:nvPr/>
          </p:nvSpPr>
          <p:spPr bwMode="auto">
            <a:xfrm>
              <a:off x="4054277" y="1995162"/>
              <a:ext cx="4841" cy="484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92" name="Freeform 34">
              <a:extLst>
                <a:ext uri="{FF2B5EF4-FFF2-40B4-BE49-F238E27FC236}">
                  <a16:creationId xmlns:a16="http://schemas.microsoft.com/office/drawing/2014/main" id="{93425DC3-A368-46CF-84AE-A008DEA115B4}"/>
                </a:ext>
              </a:extLst>
            </p:cNvPr>
            <p:cNvSpPr>
              <a:spLocks/>
            </p:cNvSpPr>
            <p:nvPr/>
          </p:nvSpPr>
          <p:spPr bwMode="auto">
            <a:xfrm>
              <a:off x="4054277" y="2018560"/>
              <a:ext cx="4841" cy="11295"/>
            </a:xfrm>
            <a:custGeom>
              <a:avLst/>
              <a:gdLst>
                <a:gd name="T0" fmla="*/ 7 w 7"/>
                <a:gd name="T1" fmla="*/ 0 h 15"/>
                <a:gd name="T2" fmla="*/ 7 w 7"/>
                <a:gd name="T3" fmla="*/ 15 h 15"/>
                <a:gd name="T4" fmla="*/ 4 w 7"/>
                <a:gd name="T5" fmla="*/ 14 h 15"/>
                <a:gd name="T6" fmla="*/ 0 w 7"/>
                <a:gd name="T7" fmla="*/ 15 h 15"/>
                <a:gd name="T8" fmla="*/ 0 w 7"/>
                <a:gd name="T9" fmla="*/ 0 h 15"/>
                <a:gd name="T10" fmla="*/ 7 w 7"/>
                <a:gd name="T11" fmla="*/ 0 h 15"/>
              </a:gdLst>
              <a:ahLst/>
              <a:cxnLst>
                <a:cxn ang="0">
                  <a:pos x="T0" y="T1"/>
                </a:cxn>
                <a:cxn ang="0">
                  <a:pos x="T2" y="T3"/>
                </a:cxn>
                <a:cxn ang="0">
                  <a:pos x="T4" y="T5"/>
                </a:cxn>
                <a:cxn ang="0">
                  <a:pos x="T6" y="T7"/>
                </a:cxn>
                <a:cxn ang="0">
                  <a:pos x="T8" y="T9"/>
                </a:cxn>
                <a:cxn ang="0">
                  <a:pos x="T10" y="T11"/>
                </a:cxn>
              </a:cxnLst>
              <a:rect l="0" t="0" r="r" b="b"/>
              <a:pathLst>
                <a:path w="7" h="15">
                  <a:moveTo>
                    <a:pt x="7" y="0"/>
                  </a:moveTo>
                  <a:cubicBezTo>
                    <a:pt x="7" y="15"/>
                    <a:pt x="7" y="15"/>
                    <a:pt x="7" y="15"/>
                  </a:cubicBezTo>
                  <a:cubicBezTo>
                    <a:pt x="6" y="14"/>
                    <a:pt x="5" y="14"/>
                    <a:pt x="4" y="14"/>
                  </a:cubicBezTo>
                  <a:cubicBezTo>
                    <a:pt x="2" y="14"/>
                    <a:pt x="1" y="14"/>
                    <a:pt x="0" y="15"/>
                  </a:cubicBezTo>
                  <a:cubicBezTo>
                    <a:pt x="0" y="0"/>
                    <a:pt x="0" y="0"/>
                    <a:pt x="0" y="0"/>
                  </a:cubicBez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93" name="Freeform 35">
              <a:extLst>
                <a:ext uri="{FF2B5EF4-FFF2-40B4-BE49-F238E27FC236}">
                  <a16:creationId xmlns:a16="http://schemas.microsoft.com/office/drawing/2014/main" id="{DE79DAED-3F7A-403F-9379-74E3B749BD88}"/>
                </a:ext>
              </a:extLst>
            </p:cNvPr>
            <p:cNvSpPr>
              <a:spLocks/>
            </p:cNvSpPr>
            <p:nvPr/>
          </p:nvSpPr>
          <p:spPr bwMode="auto">
            <a:xfrm>
              <a:off x="4050243" y="2000003"/>
              <a:ext cx="12909" cy="18557"/>
            </a:xfrm>
            <a:custGeom>
              <a:avLst/>
              <a:gdLst>
                <a:gd name="T0" fmla="*/ 17 w 17"/>
                <a:gd name="T1" fmla="*/ 5 h 25"/>
                <a:gd name="T2" fmla="*/ 17 w 17"/>
                <a:gd name="T3" fmla="*/ 20 h 25"/>
                <a:gd name="T4" fmla="*/ 12 w 17"/>
                <a:gd name="T5" fmla="*/ 25 h 25"/>
                <a:gd name="T6" fmla="*/ 5 w 17"/>
                <a:gd name="T7" fmla="*/ 25 h 25"/>
                <a:gd name="T8" fmla="*/ 0 w 17"/>
                <a:gd name="T9" fmla="*/ 20 h 25"/>
                <a:gd name="T10" fmla="*/ 0 w 17"/>
                <a:gd name="T11" fmla="*/ 5 h 25"/>
                <a:gd name="T12" fmla="*/ 5 w 17"/>
                <a:gd name="T13" fmla="*/ 0 h 25"/>
                <a:gd name="T14" fmla="*/ 12 w 17"/>
                <a:gd name="T15" fmla="*/ 0 h 25"/>
                <a:gd name="T16" fmla="*/ 17 w 17"/>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5">
                  <a:moveTo>
                    <a:pt x="17" y="5"/>
                  </a:moveTo>
                  <a:cubicBezTo>
                    <a:pt x="17" y="20"/>
                    <a:pt x="17" y="20"/>
                    <a:pt x="17" y="20"/>
                  </a:cubicBezTo>
                  <a:cubicBezTo>
                    <a:pt x="17" y="23"/>
                    <a:pt x="15" y="25"/>
                    <a:pt x="12" y="25"/>
                  </a:cubicBezTo>
                  <a:cubicBezTo>
                    <a:pt x="5" y="25"/>
                    <a:pt x="5" y="25"/>
                    <a:pt x="5" y="25"/>
                  </a:cubicBezTo>
                  <a:cubicBezTo>
                    <a:pt x="2" y="25"/>
                    <a:pt x="0" y="23"/>
                    <a:pt x="0" y="20"/>
                  </a:cubicBezTo>
                  <a:cubicBezTo>
                    <a:pt x="0" y="5"/>
                    <a:pt x="0" y="5"/>
                    <a:pt x="0" y="5"/>
                  </a:cubicBezTo>
                  <a:cubicBezTo>
                    <a:pt x="0" y="2"/>
                    <a:pt x="2" y="0"/>
                    <a:pt x="5" y="0"/>
                  </a:cubicBezTo>
                  <a:cubicBezTo>
                    <a:pt x="12" y="0"/>
                    <a:pt x="12" y="0"/>
                    <a:pt x="12" y="0"/>
                  </a:cubicBezTo>
                  <a:cubicBezTo>
                    <a:pt x="15" y="0"/>
                    <a:pt x="17" y="2"/>
                    <a:pt x="1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94" name="Freeform 36">
              <a:extLst>
                <a:ext uri="{FF2B5EF4-FFF2-40B4-BE49-F238E27FC236}">
                  <a16:creationId xmlns:a16="http://schemas.microsoft.com/office/drawing/2014/main" id="{CA6A81F0-5216-4088-A65E-275886BB1B68}"/>
                </a:ext>
              </a:extLst>
            </p:cNvPr>
            <p:cNvSpPr>
              <a:spLocks/>
            </p:cNvSpPr>
            <p:nvPr/>
          </p:nvSpPr>
          <p:spPr bwMode="auto">
            <a:xfrm>
              <a:off x="4070413" y="1998390"/>
              <a:ext cx="44375" cy="29045"/>
            </a:xfrm>
            <a:custGeom>
              <a:avLst/>
              <a:gdLst>
                <a:gd name="T0" fmla="*/ 59 w 59"/>
                <a:gd name="T1" fmla="*/ 26 h 39"/>
                <a:gd name="T2" fmla="*/ 59 w 59"/>
                <a:gd name="T3" fmla="*/ 34 h 39"/>
                <a:gd name="T4" fmla="*/ 54 w 59"/>
                <a:gd name="T5" fmla="*/ 39 h 39"/>
                <a:gd name="T6" fmla="*/ 52 w 59"/>
                <a:gd name="T7" fmla="*/ 39 h 39"/>
                <a:gd name="T8" fmla="*/ 52 w 59"/>
                <a:gd name="T9" fmla="*/ 39 h 39"/>
                <a:gd name="T10" fmla="*/ 44 w 59"/>
                <a:gd name="T11" fmla="*/ 39 h 39"/>
                <a:gd name="T12" fmla="*/ 44 w 59"/>
                <a:gd name="T13" fmla="*/ 39 h 39"/>
                <a:gd name="T14" fmla="*/ 18 w 59"/>
                <a:gd name="T15" fmla="*/ 39 h 39"/>
                <a:gd name="T16" fmla="*/ 18 w 59"/>
                <a:gd name="T17" fmla="*/ 39 h 39"/>
                <a:gd name="T18" fmla="*/ 11 w 59"/>
                <a:gd name="T19" fmla="*/ 39 h 39"/>
                <a:gd name="T20" fmla="*/ 11 w 59"/>
                <a:gd name="T21" fmla="*/ 39 h 39"/>
                <a:gd name="T22" fmla="*/ 5 w 59"/>
                <a:gd name="T23" fmla="*/ 39 h 39"/>
                <a:gd name="T24" fmla="*/ 0 w 59"/>
                <a:gd name="T25" fmla="*/ 34 h 39"/>
                <a:gd name="T26" fmla="*/ 0 w 59"/>
                <a:gd name="T27" fmla="*/ 26 h 39"/>
                <a:gd name="T28" fmla="*/ 5 w 59"/>
                <a:gd name="T29" fmla="*/ 21 h 39"/>
                <a:gd name="T30" fmla="*/ 10 w 59"/>
                <a:gd name="T31" fmla="*/ 21 h 39"/>
                <a:gd name="T32" fmla="*/ 10 w 59"/>
                <a:gd name="T33" fmla="*/ 0 h 39"/>
                <a:gd name="T34" fmla="*/ 51 w 59"/>
                <a:gd name="T35" fmla="*/ 0 h 39"/>
                <a:gd name="T36" fmla="*/ 51 w 59"/>
                <a:gd name="T37" fmla="*/ 21 h 39"/>
                <a:gd name="T38" fmla="*/ 54 w 59"/>
                <a:gd name="T39" fmla="*/ 21 h 39"/>
                <a:gd name="T40" fmla="*/ 59 w 59"/>
                <a:gd name="T41" fmla="*/ 2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 h="39">
                  <a:moveTo>
                    <a:pt x="59" y="26"/>
                  </a:moveTo>
                  <a:cubicBezTo>
                    <a:pt x="59" y="34"/>
                    <a:pt x="59" y="34"/>
                    <a:pt x="59" y="34"/>
                  </a:cubicBezTo>
                  <a:cubicBezTo>
                    <a:pt x="59" y="37"/>
                    <a:pt x="57" y="39"/>
                    <a:pt x="54" y="39"/>
                  </a:cubicBezTo>
                  <a:cubicBezTo>
                    <a:pt x="52" y="39"/>
                    <a:pt x="52" y="39"/>
                    <a:pt x="52" y="39"/>
                  </a:cubicBezTo>
                  <a:cubicBezTo>
                    <a:pt x="52" y="39"/>
                    <a:pt x="52" y="39"/>
                    <a:pt x="52" y="39"/>
                  </a:cubicBezTo>
                  <a:cubicBezTo>
                    <a:pt x="44" y="39"/>
                    <a:pt x="44" y="39"/>
                    <a:pt x="44" y="39"/>
                  </a:cubicBezTo>
                  <a:cubicBezTo>
                    <a:pt x="44" y="39"/>
                    <a:pt x="44" y="39"/>
                    <a:pt x="44" y="39"/>
                  </a:cubicBezTo>
                  <a:cubicBezTo>
                    <a:pt x="18" y="39"/>
                    <a:pt x="18" y="39"/>
                    <a:pt x="18" y="39"/>
                  </a:cubicBezTo>
                  <a:cubicBezTo>
                    <a:pt x="18" y="39"/>
                    <a:pt x="18" y="39"/>
                    <a:pt x="18" y="39"/>
                  </a:cubicBezTo>
                  <a:cubicBezTo>
                    <a:pt x="11" y="39"/>
                    <a:pt x="11" y="39"/>
                    <a:pt x="11" y="39"/>
                  </a:cubicBezTo>
                  <a:cubicBezTo>
                    <a:pt x="11" y="39"/>
                    <a:pt x="11" y="39"/>
                    <a:pt x="11" y="39"/>
                  </a:cubicBezTo>
                  <a:cubicBezTo>
                    <a:pt x="5" y="39"/>
                    <a:pt x="5" y="39"/>
                    <a:pt x="5" y="39"/>
                  </a:cubicBezTo>
                  <a:cubicBezTo>
                    <a:pt x="2" y="39"/>
                    <a:pt x="0" y="37"/>
                    <a:pt x="0" y="34"/>
                  </a:cubicBezTo>
                  <a:cubicBezTo>
                    <a:pt x="0" y="26"/>
                    <a:pt x="0" y="26"/>
                    <a:pt x="0" y="26"/>
                  </a:cubicBezTo>
                  <a:cubicBezTo>
                    <a:pt x="0" y="24"/>
                    <a:pt x="2" y="21"/>
                    <a:pt x="5" y="21"/>
                  </a:cubicBezTo>
                  <a:cubicBezTo>
                    <a:pt x="10" y="21"/>
                    <a:pt x="10" y="21"/>
                    <a:pt x="10" y="21"/>
                  </a:cubicBezTo>
                  <a:cubicBezTo>
                    <a:pt x="10" y="0"/>
                    <a:pt x="10" y="0"/>
                    <a:pt x="10" y="0"/>
                  </a:cubicBezTo>
                  <a:cubicBezTo>
                    <a:pt x="51" y="0"/>
                    <a:pt x="51" y="0"/>
                    <a:pt x="51" y="0"/>
                  </a:cubicBezTo>
                  <a:cubicBezTo>
                    <a:pt x="51" y="21"/>
                    <a:pt x="51" y="21"/>
                    <a:pt x="51" y="21"/>
                  </a:cubicBezTo>
                  <a:cubicBezTo>
                    <a:pt x="54" y="21"/>
                    <a:pt x="54" y="21"/>
                    <a:pt x="54" y="21"/>
                  </a:cubicBezTo>
                  <a:cubicBezTo>
                    <a:pt x="57" y="21"/>
                    <a:pt x="59" y="24"/>
                    <a:pt x="59"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95" name="Freeform 37">
              <a:extLst>
                <a:ext uri="{FF2B5EF4-FFF2-40B4-BE49-F238E27FC236}">
                  <a16:creationId xmlns:a16="http://schemas.microsoft.com/office/drawing/2014/main" id="{341BE948-25DC-4847-A747-EA4AC5DC53C9}"/>
                </a:ext>
              </a:extLst>
            </p:cNvPr>
            <p:cNvSpPr>
              <a:spLocks/>
            </p:cNvSpPr>
            <p:nvPr/>
          </p:nvSpPr>
          <p:spPr bwMode="auto">
            <a:xfrm>
              <a:off x="4076061" y="1972572"/>
              <a:ext cx="32272" cy="13716"/>
            </a:xfrm>
            <a:custGeom>
              <a:avLst/>
              <a:gdLst>
                <a:gd name="T0" fmla="*/ 43 w 43"/>
                <a:gd name="T1" fmla="*/ 8 h 17"/>
                <a:gd name="T2" fmla="*/ 35 w 43"/>
                <a:gd name="T3" fmla="*/ 17 h 17"/>
                <a:gd name="T4" fmla="*/ 8 w 43"/>
                <a:gd name="T5" fmla="*/ 17 h 17"/>
                <a:gd name="T6" fmla="*/ 0 w 43"/>
                <a:gd name="T7" fmla="*/ 8 h 17"/>
                <a:gd name="T8" fmla="*/ 8 w 43"/>
                <a:gd name="T9" fmla="*/ 0 h 17"/>
                <a:gd name="T10" fmla="*/ 35 w 43"/>
                <a:gd name="T11" fmla="*/ 0 h 17"/>
                <a:gd name="T12" fmla="*/ 43 w 43"/>
                <a:gd name="T13" fmla="*/ 8 h 17"/>
              </a:gdLst>
              <a:ahLst/>
              <a:cxnLst>
                <a:cxn ang="0">
                  <a:pos x="T0" y="T1"/>
                </a:cxn>
                <a:cxn ang="0">
                  <a:pos x="T2" y="T3"/>
                </a:cxn>
                <a:cxn ang="0">
                  <a:pos x="T4" y="T5"/>
                </a:cxn>
                <a:cxn ang="0">
                  <a:pos x="T6" y="T7"/>
                </a:cxn>
                <a:cxn ang="0">
                  <a:pos x="T8" y="T9"/>
                </a:cxn>
                <a:cxn ang="0">
                  <a:pos x="T10" y="T11"/>
                </a:cxn>
                <a:cxn ang="0">
                  <a:pos x="T12" y="T13"/>
                </a:cxn>
              </a:cxnLst>
              <a:rect l="0" t="0" r="r" b="b"/>
              <a:pathLst>
                <a:path w="43" h="17">
                  <a:moveTo>
                    <a:pt x="43" y="8"/>
                  </a:moveTo>
                  <a:cubicBezTo>
                    <a:pt x="43" y="13"/>
                    <a:pt x="40" y="17"/>
                    <a:pt x="35" y="17"/>
                  </a:cubicBezTo>
                  <a:cubicBezTo>
                    <a:pt x="8" y="17"/>
                    <a:pt x="8" y="17"/>
                    <a:pt x="8" y="17"/>
                  </a:cubicBezTo>
                  <a:cubicBezTo>
                    <a:pt x="4" y="17"/>
                    <a:pt x="0" y="13"/>
                    <a:pt x="0" y="8"/>
                  </a:cubicBezTo>
                  <a:cubicBezTo>
                    <a:pt x="0" y="4"/>
                    <a:pt x="4" y="0"/>
                    <a:pt x="8" y="0"/>
                  </a:cubicBezTo>
                  <a:cubicBezTo>
                    <a:pt x="35" y="0"/>
                    <a:pt x="35" y="0"/>
                    <a:pt x="35" y="0"/>
                  </a:cubicBezTo>
                  <a:cubicBezTo>
                    <a:pt x="40" y="0"/>
                    <a:pt x="43" y="4"/>
                    <a:pt x="43"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96" name="Rectangle 38">
              <a:extLst>
                <a:ext uri="{FF2B5EF4-FFF2-40B4-BE49-F238E27FC236}">
                  <a16:creationId xmlns:a16="http://schemas.microsoft.com/office/drawing/2014/main" id="{42DCC1AB-6D5B-4AE3-B490-669D3C655DFC}"/>
                </a:ext>
              </a:extLst>
            </p:cNvPr>
            <p:cNvSpPr>
              <a:spLocks noChangeArrowheads="1"/>
            </p:cNvSpPr>
            <p:nvPr/>
          </p:nvSpPr>
          <p:spPr bwMode="auto">
            <a:xfrm>
              <a:off x="4077675" y="1994356"/>
              <a:ext cx="30659" cy="80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97" name="Rectangle 39">
              <a:extLst>
                <a:ext uri="{FF2B5EF4-FFF2-40B4-BE49-F238E27FC236}">
                  <a16:creationId xmlns:a16="http://schemas.microsoft.com/office/drawing/2014/main" id="{58CD10E4-D276-46F7-B17C-06650ED201D5}"/>
                </a:ext>
              </a:extLst>
            </p:cNvPr>
            <p:cNvSpPr>
              <a:spLocks noChangeArrowheads="1"/>
            </p:cNvSpPr>
            <p:nvPr/>
          </p:nvSpPr>
          <p:spPr bwMode="auto">
            <a:xfrm>
              <a:off x="4078481" y="2027435"/>
              <a:ext cx="4841" cy="80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98" name="Rectangle 40">
              <a:extLst>
                <a:ext uri="{FF2B5EF4-FFF2-40B4-BE49-F238E27FC236}">
                  <a16:creationId xmlns:a16="http://schemas.microsoft.com/office/drawing/2014/main" id="{4557BFC9-86C0-40D1-ABDB-A8D0DDD5258A}"/>
                </a:ext>
              </a:extLst>
            </p:cNvPr>
            <p:cNvSpPr>
              <a:spLocks noChangeArrowheads="1"/>
            </p:cNvSpPr>
            <p:nvPr/>
          </p:nvSpPr>
          <p:spPr bwMode="auto">
            <a:xfrm>
              <a:off x="4103492" y="2027435"/>
              <a:ext cx="5648" cy="80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99" name="Rectangle 41">
              <a:extLst>
                <a:ext uri="{FF2B5EF4-FFF2-40B4-BE49-F238E27FC236}">
                  <a16:creationId xmlns:a16="http://schemas.microsoft.com/office/drawing/2014/main" id="{3261DD3C-B051-47F7-87D0-39807B3D1E4D}"/>
                </a:ext>
              </a:extLst>
            </p:cNvPr>
            <p:cNvSpPr>
              <a:spLocks noChangeArrowheads="1"/>
            </p:cNvSpPr>
            <p:nvPr/>
          </p:nvSpPr>
          <p:spPr bwMode="auto">
            <a:xfrm>
              <a:off x="4078481" y="2027435"/>
              <a:ext cx="4841" cy="726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00" name="Rectangle 42">
              <a:extLst>
                <a:ext uri="{FF2B5EF4-FFF2-40B4-BE49-F238E27FC236}">
                  <a16:creationId xmlns:a16="http://schemas.microsoft.com/office/drawing/2014/main" id="{2AA165BC-91E4-4593-BF6B-253B52CF10ED}"/>
                </a:ext>
              </a:extLst>
            </p:cNvPr>
            <p:cNvSpPr>
              <a:spLocks noChangeArrowheads="1"/>
            </p:cNvSpPr>
            <p:nvPr/>
          </p:nvSpPr>
          <p:spPr bwMode="auto">
            <a:xfrm>
              <a:off x="4103492" y="2027435"/>
              <a:ext cx="5648" cy="726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01" name="Freeform 43">
              <a:extLst>
                <a:ext uri="{FF2B5EF4-FFF2-40B4-BE49-F238E27FC236}">
                  <a16:creationId xmlns:a16="http://schemas.microsoft.com/office/drawing/2014/main" id="{D15F882B-4287-4C33-81B7-978DD184BB4E}"/>
                </a:ext>
              </a:extLst>
            </p:cNvPr>
            <p:cNvSpPr>
              <a:spLocks/>
            </p:cNvSpPr>
            <p:nvPr/>
          </p:nvSpPr>
          <p:spPr bwMode="auto">
            <a:xfrm>
              <a:off x="4113174" y="1938686"/>
              <a:ext cx="3227" cy="22591"/>
            </a:xfrm>
            <a:custGeom>
              <a:avLst/>
              <a:gdLst>
                <a:gd name="T0" fmla="*/ 4 w 4"/>
                <a:gd name="T1" fmla="*/ 25 h 30"/>
                <a:gd name="T2" fmla="*/ 0 w 4"/>
                <a:gd name="T3" fmla="*/ 30 h 30"/>
                <a:gd name="T4" fmla="*/ 0 w 4"/>
                <a:gd name="T5" fmla="*/ 30 h 30"/>
                <a:gd name="T6" fmla="*/ 0 w 4"/>
                <a:gd name="T7" fmla="*/ 0 h 30"/>
                <a:gd name="T8" fmla="*/ 1 w 4"/>
                <a:gd name="T9" fmla="*/ 0 h 30"/>
                <a:gd name="T10" fmla="*/ 1 w 4"/>
                <a:gd name="T11" fmla="*/ 21 h 30"/>
                <a:gd name="T12" fmla="*/ 4 w 4"/>
                <a:gd name="T13" fmla="*/ 25 h 30"/>
              </a:gdLst>
              <a:ahLst/>
              <a:cxnLst>
                <a:cxn ang="0">
                  <a:pos x="T0" y="T1"/>
                </a:cxn>
                <a:cxn ang="0">
                  <a:pos x="T2" y="T3"/>
                </a:cxn>
                <a:cxn ang="0">
                  <a:pos x="T4" y="T5"/>
                </a:cxn>
                <a:cxn ang="0">
                  <a:pos x="T6" y="T7"/>
                </a:cxn>
                <a:cxn ang="0">
                  <a:pos x="T8" y="T9"/>
                </a:cxn>
                <a:cxn ang="0">
                  <a:pos x="T10" y="T11"/>
                </a:cxn>
                <a:cxn ang="0">
                  <a:pos x="T12" y="T13"/>
                </a:cxn>
              </a:cxnLst>
              <a:rect l="0" t="0" r="r" b="b"/>
              <a:pathLst>
                <a:path w="4" h="30">
                  <a:moveTo>
                    <a:pt x="4" y="25"/>
                  </a:moveTo>
                  <a:cubicBezTo>
                    <a:pt x="4" y="28"/>
                    <a:pt x="2" y="30"/>
                    <a:pt x="0" y="30"/>
                  </a:cubicBezTo>
                  <a:cubicBezTo>
                    <a:pt x="0" y="30"/>
                    <a:pt x="0" y="30"/>
                    <a:pt x="0" y="30"/>
                  </a:cubicBezTo>
                  <a:cubicBezTo>
                    <a:pt x="0" y="0"/>
                    <a:pt x="0" y="0"/>
                    <a:pt x="0" y="0"/>
                  </a:cubicBezTo>
                  <a:cubicBezTo>
                    <a:pt x="1" y="0"/>
                    <a:pt x="1" y="0"/>
                    <a:pt x="1" y="0"/>
                  </a:cubicBezTo>
                  <a:cubicBezTo>
                    <a:pt x="1" y="21"/>
                    <a:pt x="1" y="21"/>
                    <a:pt x="1" y="21"/>
                  </a:cubicBezTo>
                  <a:cubicBezTo>
                    <a:pt x="3" y="21"/>
                    <a:pt x="4" y="23"/>
                    <a:pt x="4"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02" name="Freeform 44">
              <a:extLst>
                <a:ext uri="{FF2B5EF4-FFF2-40B4-BE49-F238E27FC236}">
                  <a16:creationId xmlns:a16="http://schemas.microsoft.com/office/drawing/2014/main" id="{8B63AD2D-9CDE-4294-AAA7-05A7953EC75C}"/>
                </a:ext>
              </a:extLst>
            </p:cNvPr>
            <p:cNvSpPr>
              <a:spLocks/>
            </p:cNvSpPr>
            <p:nvPr/>
          </p:nvSpPr>
          <p:spPr bwMode="auto">
            <a:xfrm>
              <a:off x="4070413" y="1938686"/>
              <a:ext cx="2420" cy="22591"/>
            </a:xfrm>
            <a:custGeom>
              <a:avLst/>
              <a:gdLst>
                <a:gd name="T0" fmla="*/ 4 w 4"/>
                <a:gd name="T1" fmla="*/ 0 h 30"/>
                <a:gd name="T2" fmla="*/ 4 w 4"/>
                <a:gd name="T3" fmla="*/ 30 h 30"/>
                <a:gd name="T4" fmla="*/ 4 w 4"/>
                <a:gd name="T5" fmla="*/ 30 h 30"/>
                <a:gd name="T6" fmla="*/ 0 w 4"/>
                <a:gd name="T7" fmla="*/ 25 h 30"/>
                <a:gd name="T8" fmla="*/ 3 w 4"/>
                <a:gd name="T9" fmla="*/ 21 h 30"/>
                <a:gd name="T10" fmla="*/ 3 w 4"/>
                <a:gd name="T11" fmla="*/ 0 h 30"/>
                <a:gd name="T12" fmla="*/ 4 w 4"/>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4" h="30">
                  <a:moveTo>
                    <a:pt x="4" y="0"/>
                  </a:moveTo>
                  <a:cubicBezTo>
                    <a:pt x="4" y="30"/>
                    <a:pt x="4" y="30"/>
                    <a:pt x="4" y="30"/>
                  </a:cubicBezTo>
                  <a:cubicBezTo>
                    <a:pt x="4" y="30"/>
                    <a:pt x="4" y="30"/>
                    <a:pt x="4" y="30"/>
                  </a:cubicBezTo>
                  <a:cubicBezTo>
                    <a:pt x="2" y="30"/>
                    <a:pt x="0" y="28"/>
                    <a:pt x="0" y="25"/>
                  </a:cubicBezTo>
                  <a:cubicBezTo>
                    <a:pt x="0" y="23"/>
                    <a:pt x="1" y="21"/>
                    <a:pt x="3" y="21"/>
                  </a:cubicBezTo>
                  <a:cubicBezTo>
                    <a:pt x="3" y="0"/>
                    <a:pt x="3" y="0"/>
                    <a:pt x="3" y="0"/>
                  </a:cubicBez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03" name="Freeform 45">
              <a:extLst>
                <a:ext uri="{FF2B5EF4-FFF2-40B4-BE49-F238E27FC236}">
                  <a16:creationId xmlns:a16="http://schemas.microsoft.com/office/drawing/2014/main" id="{F7F9183D-18C9-432F-ADBD-2A74AF4BD148}"/>
                </a:ext>
              </a:extLst>
            </p:cNvPr>
            <p:cNvSpPr>
              <a:spLocks/>
            </p:cNvSpPr>
            <p:nvPr/>
          </p:nvSpPr>
          <p:spPr bwMode="auto">
            <a:xfrm>
              <a:off x="4053470" y="2029048"/>
              <a:ext cx="8875" cy="2420"/>
            </a:xfrm>
            <a:custGeom>
              <a:avLst/>
              <a:gdLst>
                <a:gd name="T0" fmla="*/ 12 w 12"/>
                <a:gd name="T1" fmla="*/ 3 h 3"/>
                <a:gd name="T2" fmla="*/ 0 w 12"/>
                <a:gd name="T3" fmla="*/ 1 h 3"/>
                <a:gd name="T4" fmla="*/ 1 w 12"/>
                <a:gd name="T5" fmla="*/ 1 h 3"/>
                <a:gd name="T6" fmla="*/ 5 w 12"/>
                <a:gd name="T7" fmla="*/ 0 h 3"/>
                <a:gd name="T8" fmla="*/ 8 w 12"/>
                <a:gd name="T9" fmla="*/ 1 h 3"/>
                <a:gd name="T10" fmla="*/ 12 w 12"/>
                <a:gd name="T11" fmla="*/ 3 h 3"/>
              </a:gdLst>
              <a:ahLst/>
              <a:cxnLst>
                <a:cxn ang="0">
                  <a:pos x="T0" y="T1"/>
                </a:cxn>
                <a:cxn ang="0">
                  <a:pos x="T2" y="T3"/>
                </a:cxn>
                <a:cxn ang="0">
                  <a:pos x="T4" y="T5"/>
                </a:cxn>
                <a:cxn ang="0">
                  <a:pos x="T6" y="T7"/>
                </a:cxn>
                <a:cxn ang="0">
                  <a:pos x="T8" y="T9"/>
                </a:cxn>
                <a:cxn ang="0">
                  <a:pos x="T10" y="T11"/>
                </a:cxn>
              </a:cxnLst>
              <a:rect l="0" t="0" r="r" b="b"/>
              <a:pathLst>
                <a:path w="12" h="3">
                  <a:moveTo>
                    <a:pt x="12" y="3"/>
                  </a:moveTo>
                  <a:cubicBezTo>
                    <a:pt x="8" y="3"/>
                    <a:pt x="4" y="2"/>
                    <a:pt x="0" y="1"/>
                  </a:cubicBezTo>
                  <a:cubicBezTo>
                    <a:pt x="0" y="1"/>
                    <a:pt x="1" y="1"/>
                    <a:pt x="1" y="1"/>
                  </a:cubicBezTo>
                  <a:cubicBezTo>
                    <a:pt x="2" y="0"/>
                    <a:pt x="3" y="0"/>
                    <a:pt x="5" y="0"/>
                  </a:cubicBezTo>
                  <a:cubicBezTo>
                    <a:pt x="6" y="0"/>
                    <a:pt x="7" y="0"/>
                    <a:pt x="8" y="1"/>
                  </a:cubicBezTo>
                  <a:cubicBezTo>
                    <a:pt x="10" y="1"/>
                    <a:pt x="11" y="2"/>
                    <a:pt x="12"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04" name="Rectangle 46">
              <a:extLst>
                <a:ext uri="{FF2B5EF4-FFF2-40B4-BE49-F238E27FC236}">
                  <a16:creationId xmlns:a16="http://schemas.microsoft.com/office/drawing/2014/main" id="{AED37044-578E-4B20-9F66-AC8C75C882B4}"/>
                </a:ext>
              </a:extLst>
            </p:cNvPr>
            <p:cNvSpPr>
              <a:spLocks noChangeArrowheads="1"/>
            </p:cNvSpPr>
            <p:nvPr/>
          </p:nvSpPr>
          <p:spPr bwMode="auto">
            <a:xfrm>
              <a:off x="4124469" y="1995162"/>
              <a:ext cx="5648" cy="484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05" name="Freeform 47">
              <a:extLst>
                <a:ext uri="{FF2B5EF4-FFF2-40B4-BE49-F238E27FC236}">
                  <a16:creationId xmlns:a16="http://schemas.microsoft.com/office/drawing/2014/main" id="{32123F69-0823-441C-B109-E80AB6CC4D7D}"/>
                </a:ext>
              </a:extLst>
            </p:cNvPr>
            <p:cNvSpPr>
              <a:spLocks/>
            </p:cNvSpPr>
            <p:nvPr/>
          </p:nvSpPr>
          <p:spPr bwMode="auto">
            <a:xfrm>
              <a:off x="4124469" y="2018560"/>
              <a:ext cx="5648" cy="11295"/>
            </a:xfrm>
            <a:custGeom>
              <a:avLst/>
              <a:gdLst>
                <a:gd name="T0" fmla="*/ 8 w 8"/>
                <a:gd name="T1" fmla="*/ 0 h 15"/>
                <a:gd name="T2" fmla="*/ 8 w 8"/>
                <a:gd name="T3" fmla="*/ 15 h 15"/>
                <a:gd name="T4" fmla="*/ 4 w 8"/>
                <a:gd name="T5" fmla="*/ 14 h 15"/>
                <a:gd name="T6" fmla="*/ 0 w 8"/>
                <a:gd name="T7" fmla="*/ 15 h 15"/>
                <a:gd name="T8" fmla="*/ 0 w 8"/>
                <a:gd name="T9" fmla="*/ 0 h 15"/>
                <a:gd name="T10" fmla="*/ 8 w 8"/>
                <a:gd name="T11" fmla="*/ 0 h 15"/>
              </a:gdLst>
              <a:ahLst/>
              <a:cxnLst>
                <a:cxn ang="0">
                  <a:pos x="T0" y="T1"/>
                </a:cxn>
                <a:cxn ang="0">
                  <a:pos x="T2" y="T3"/>
                </a:cxn>
                <a:cxn ang="0">
                  <a:pos x="T4" y="T5"/>
                </a:cxn>
                <a:cxn ang="0">
                  <a:pos x="T6" y="T7"/>
                </a:cxn>
                <a:cxn ang="0">
                  <a:pos x="T8" y="T9"/>
                </a:cxn>
                <a:cxn ang="0">
                  <a:pos x="T10" y="T11"/>
                </a:cxn>
              </a:cxnLst>
              <a:rect l="0" t="0" r="r" b="b"/>
              <a:pathLst>
                <a:path w="8" h="15">
                  <a:moveTo>
                    <a:pt x="8" y="0"/>
                  </a:moveTo>
                  <a:cubicBezTo>
                    <a:pt x="8" y="15"/>
                    <a:pt x="8" y="15"/>
                    <a:pt x="8" y="15"/>
                  </a:cubicBezTo>
                  <a:cubicBezTo>
                    <a:pt x="7" y="14"/>
                    <a:pt x="6" y="14"/>
                    <a:pt x="4" y="14"/>
                  </a:cubicBezTo>
                  <a:cubicBezTo>
                    <a:pt x="3" y="14"/>
                    <a:pt x="2" y="14"/>
                    <a:pt x="0" y="15"/>
                  </a:cubicBezTo>
                  <a:cubicBezTo>
                    <a:pt x="0" y="0"/>
                    <a:pt x="0" y="0"/>
                    <a:pt x="0" y="0"/>
                  </a:cubicBez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06" name="Freeform 48">
              <a:extLst>
                <a:ext uri="{FF2B5EF4-FFF2-40B4-BE49-F238E27FC236}">
                  <a16:creationId xmlns:a16="http://schemas.microsoft.com/office/drawing/2014/main" id="{901D1033-1DE7-4CE0-BE2B-52A627D7C048}"/>
                </a:ext>
              </a:extLst>
            </p:cNvPr>
            <p:cNvSpPr>
              <a:spLocks/>
            </p:cNvSpPr>
            <p:nvPr/>
          </p:nvSpPr>
          <p:spPr bwMode="auto">
            <a:xfrm>
              <a:off x="4121242" y="2000003"/>
              <a:ext cx="12102" cy="18557"/>
            </a:xfrm>
            <a:custGeom>
              <a:avLst/>
              <a:gdLst>
                <a:gd name="T0" fmla="*/ 16 w 16"/>
                <a:gd name="T1" fmla="*/ 5 h 25"/>
                <a:gd name="T2" fmla="*/ 16 w 16"/>
                <a:gd name="T3" fmla="*/ 20 h 25"/>
                <a:gd name="T4" fmla="*/ 12 w 16"/>
                <a:gd name="T5" fmla="*/ 25 h 25"/>
                <a:gd name="T6" fmla="*/ 4 w 16"/>
                <a:gd name="T7" fmla="*/ 25 h 25"/>
                <a:gd name="T8" fmla="*/ 0 w 16"/>
                <a:gd name="T9" fmla="*/ 20 h 25"/>
                <a:gd name="T10" fmla="*/ 0 w 16"/>
                <a:gd name="T11" fmla="*/ 5 h 25"/>
                <a:gd name="T12" fmla="*/ 4 w 16"/>
                <a:gd name="T13" fmla="*/ 0 h 25"/>
                <a:gd name="T14" fmla="*/ 12 w 16"/>
                <a:gd name="T15" fmla="*/ 0 h 25"/>
                <a:gd name="T16" fmla="*/ 16 w 16"/>
                <a:gd name="T1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5">
                  <a:moveTo>
                    <a:pt x="16" y="5"/>
                  </a:moveTo>
                  <a:cubicBezTo>
                    <a:pt x="16" y="20"/>
                    <a:pt x="16" y="20"/>
                    <a:pt x="16" y="20"/>
                  </a:cubicBezTo>
                  <a:cubicBezTo>
                    <a:pt x="16" y="23"/>
                    <a:pt x="14" y="25"/>
                    <a:pt x="12" y="25"/>
                  </a:cubicBezTo>
                  <a:cubicBezTo>
                    <a:pt x="4" y="25"/>
                    <a:pt x="4" y="25"/>
                    <a:pt x="4" y="25"/>
                  </a:cubicBezTo>
                  <a:cubicBezTo>
                    <a:pt x="2" y="25"/>
                    <a:pt x="0" y="23"/>
                    <a:pt x="0" y="20"/>
                  </a:cubicBezTo>
                  <a:cubicBezTo>
                    <a:pt x="0" y="5"/>
                    <a:pt x="0" y="5"/>
                    <a:pt x="0" y="5"/>
                  </a:cubicBezTo>
                  <a:cubicBezTo>
                    <a:pt x="0" y="2"/>
                    <a:pt x="2" y="0"/>
                    <a:pt x="4" y="0"/>
                  </a:cubicBezTo>
                  <a:cubicBezTo>
                    <a:pt x="12" y="0"/>
                    <a:pt x="12" y="0"/>
                    <a:pt x="12" y="0"/>
                  </a:cubicBezTo>
                  <a:cubicBezTo>
                    <a:pt x="14" y="0"/>
                    <a:pt x="16" y="2"/>
                    <a:pt x="16"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07" name="Freeform 49">
              <a:extLst>
                <a:ext uri="{FF2B5EF4-FFF2-40B4-BE49-F238E27FC236}">
                  <a16:creationId xmlns:a16="http://schemas.microsoft.com/office/drawing/2014/main" id="{E17F5B60-FFEE-41B0-B5E6-CC69B5F9BEF6}"/>
                </a:ext>
              </a:extLst>
            </p:cNvPr>
            <p:cNvSpPr>
              <a:spLocks/>
            </p:cNvSpPr>
            <p:nvPr/>
          </p:nvSpPr>
          <p:spPr bwMode="auto">
            <a:xfrm>
              <a:off x="4121242" y="2029048"/>
              <a:ext cx="11295" cy="3227"/>
            </a:xfrm>
            <a:custGeom>
              <a:avLst/>
              <a:gdLst>
                <a:gd name="T0" fmla="*/ 15 w 15"/>
                <a:gd name="T1" fmla="*/ 3 h 4"/>
                <a:gd name="T2" fmla="*/ 0 w 15"/>
                <a:gd name="T3" fmla="*/ 4 h 4"/>
                <a:gd name="T4" fmla="*/ 4 w 15"/>
                <a:gd name="T5" fmla="*/ 1 h 4"/>
                <a:gd name="T6" fmla="*/ 8 w 15"/>
                <a:gd name="T7" fmla="*/ 0 h 4"/>
                <a:gd name="T8" fmla="*/ 12 w 15"/>
                <a:gd name="T9" fmla="*/ 1 h 4"/>
                <a:gd name="T10" fmla="*/ 15 w 15"/>
                <a:gd name="T11" fmla="*/ 3 h 4"/>
              </a:gdLst>
              <a:ahLst/>
              <a:cxnLst>
                <a:cxn ang="0">
                  <a:pos x="T0" y="T1"/>
                </a:cxn>
                <a:cxn ang="0">
                  <a:pos x="T2" y="T3"/>
                </a:cxn>
                <a:cxn ang="0">
                  <a:pos x="T4" y="T5"/>
                </a:cxn>
                <a:cxn ang="0">
                  <a:pos x="T6" y="T7"/>
                </a:cxn>
                <a:cxn ang="0">
                  <a:pos x="T8" y="T9"/>
                </a:cxn>
                <a:cxn ang="0">
                  <a:pos x="T10" y="T11"/>
                </a:cxn>
              </a:cxnLst>
              <a:rect l="0" t="0" r="r" b="b"/>
              <a:pathLst>
                <a:path w="15" h="4">
                  <a:moveTo>
                    <a:pt x="15" y="3"/>
                  </a:moveTo>
                  <a:cubicBezTo>
                    <a:pt x="10" y="3"/>
                    <a:pt x="5" y="4"/>
                    <a:pt x="0" y="4"/>
                  </a:cubicBezTo>
                  <a:cubicBezTo>
                    <a:pt x="1" y="3"/>
                    <a:pt x="3" y="2"/>
                    <a:pt x="4" y="1"/>
                  </a:cubicBezTo>
                  <a:cubicBezTo>
                    <a:pt x="6" y="0"/>
                    <a:pt x="7" y="0"/>
                    <a:pt x="8" y="0"/>
                  </a:cubicBezTo>
                  <a:cubicBezTo>
                    <a:pt x="10" y="0"/>
                    <a:pt x="11" y="0"/>
                    <a:pt x="12" y="1"/>
                  </a:cubicBezTo>
                  <a:cubicBezTo>
                    <a:pt x="13" y="1"/>
                    <a:pt x="14" y="2"/>
                    <a:pt x="15"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08" name="Rectangle 50">
              <a:extLst>
                <a:ext uri="{FF2B5EF4-FFF2-40B4-BE49-F238E27FC236}">
                  <a16:creationId xmlns:a16="http://schemas.microsoft.com/office/drawing/2014/main" id="{4F50F2B8-2EE1-4B78-9027-4FD7897DDF33}"/>
                </a:ext>
              </a:extLst>
            </p:cNvPr>
            <p:cNvSpPr>
              <a:spLocks noChangeArrowheads="1"/>
            </p:cNvSpPr>
            <p:nvPr/>
          </p:nvSpPr>
          <p:spPr bwMode="auto">
            <a:xfrm>
              <a:off x="4054277" y="2018560"/>
              <a:ext cx="4841" cy="7261"/>
            </a:xfrm>
            <a:prstGeom prst="rect">
              <a:avLst/>
            </a:prstGeom>
            <a:solidFill>
              <a:srgbClr val="5051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09" name="Rectangle 51">
              <a:extLst>
                <a:ext uri="{FF2B5EF4-FFF2-40B4-BE49-F238E27FC236}">
                  <a16:creationId xmlns:a16="http://schemas.microsoft.com/office/drawing/2014/main" id="{0EEA887C-0E32-4FFC-9561-2ACFE56DB7D5}"/>
                </a:ext>
              </a:extLst>
            </p:cNvPr>
            <p:cNvSpPr>
              <a:spLocks noChangeArrowheads="1"/>
            </p:cNvSpPr>
            <p:nvPr/>
          </p:nvSpPr>
          <p:spPr bwMode="auto">
            <a:xfrm>
              <a:off x="4077675" y="1994356"/>
              <a:ext cx="30659" cy="4034"/>
            </a:xfrm>
            <a:prstGeom prst="rect">
              <a:avLst/>
            </a:prstGeom>
            <a:solidFill>
              <a:srgbClr val="5051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10" name="Freeform 52">
              <a:extLst>
                <a:ext uri="{FF2B5EF4-FFF2-40B4-BE49-F238E27FC236}">
                  <a16:creationId xmlns:a16="http://schemas.microsoft.com/office/drawing/2014/main" id="{F923E554-5A4D-4553-A6F5-396FF7781725}"/>
                </a:ext>
              </a:extLst>
            </p:cNvPr>
            <p:cNvSpPr>
              <a:spLocks noEditPoints="1"/>
            </p:cNvSpPr>
            <p:nvPr/>
          </p:nvSpPr>
          <p:spPr bwMode="auto">
            <a:xfrm>
              <a:off x="4048629" y="1944334"/>
              <a:ext cx="87135" cy="50829"/>
            </a:xfrm>
            <a:custGeom>
              <a:avLst/>
              <a:gdLst>
                <a:gd name="T0" fmla="*/ 111 w 115"/>
                <a:gd name="T1" fmla="*/ 34 h 67"/>
                <a:gd name="T2" fmla="*/ 96 w 115"/>
                <a:gd name="T3" fmla="*/ 34 h 67"/>
                <a:gd name="T4" fmla="*/ 96 w 115"/>
                <a:gd name="T5" fmla="*/ 26 h 67"/>
                <a:gd name="T6" fmla="*/ 83 w 115"/>
                <a:gd name="T7" fmla="*/ 26 h 67"/>
                <a:gd name="T8" fmla="*/ 58 w 115"/>
                <a:gd name="T9" fmla="*/ 0 h 67"/>
                <a:gd name="T10" fmla="*/ 34 w 115"/>
                <a:gd name="T11" fmla="*/ 26 h 67"/>
                <a:gd name="T12" fmla="*/ 19 w 115"/>
                <a:gd name="T13" fmla="*/ 26 h 67"/>
                <a:gd name="T14" fmla="*/ 19 w 115"/>
                <a:gd name="T15" fmla="*/ 34 h 67"/>
                <a:gd name="T16" fmla="*/ 4 w 115"/>
                <a:gd name="T17" fmla="*/ 34 h 67"/>
                <a:gd name="T18" fmla="*/ 0 w 115"/>
                <a:gd name="T19" fmla="*/ 38 h 67"/>
                <a:gd name="T20" fmla="*/ 0 w 115"/>
                <a:gd name="T21" fmla="*/ 54 h 67"/>
                <a:gd name="T22" fmla="*/ 4 w 115"/>
                <a:gd name="T23" fmla="*/ 58 h 67"/>
                <a:gd name="T24" fmla="*/ 7 w 115"/>
                <a:gd name="T25" fmla="*/ 58 h 67"/>
                <a:gd name="T26" fmla="*/ 7 w 115"/>
                <a:gd name="T27" fmla="*/ 67 h 67"/>
                <a:gd name="T28" fmla="*/ 14 w 115"/>
                <a:gd name="T29" fmla="*/ 67 h 67"/>
                <a:gd name="T30" fmla="*/ 14 w 115"/>
                <a:gd name="T31" fmla="*/ 58 h 67"/>
                <a:gd name="T32" fmla="*/ 19 w 115"/>
                <a:gd name="T33" fmla="*/ 58 h 67"/>
                <a:gd name="T34" fmla="*/ 19 w 115"/>
                <a:gd name="T35" fmla="*/ 67 h 67"/>
                <a:gd name="T36" fmla="*/ 38 w 115"/>
                <a:gd name="T37" fmla="*/ 67 h 67"/>
                <a:gd name="T38" fmla="*/ 38 w 115"/>
                <a:gd name="T39" fmla="*/ 66 h 67"/>
                <a:gd name="T40" fmla="*/ 79 w 115"/>
                <a:gd name="T41" fmla="*/ 66 h 67"/>
                <a:gd name="T42" fmla="*/ 79 w 115"/>
                <a:gd name="T43" fmla="*/ 67 h 67"/>
                <a:gd name="T44" fmla="*/ 96 w 115"/>
                <a:gd name="T45" fmla="*/ 67 h 67"/>
                <a:gd name="T46" fmla="*/ 96 w 115"/>
                <a:gd name="T47" fmla="*/ 58 h 67"/>
                <a:gd name="T48" fmla="*/ 100 w 115"/>
                <a:gd name="T49" fmla="*/ 58 h 67"/>
                <a:gd name="T50" fmla="*/ 100 w 115"/>
                <a:gd name="T51" fmla="*/ 67 h 67"/>
                <a:gd name="T52" fmla="*/ 108 w 115"/>
                <a:gd name="T53" fmla="*/ 67 h 67"/>
                <a:gd name="T54" fmla="*/ 108 w 115"/>
                <a:gd name="T55" fmla="*/ 58 h 67"/>
                <a:gd name="T56" fmla="*/ 111 w 115"/>
                <a:gd name="T57" fmla="*/ 58 h 67"/>
                <a:gd name="T58" fmla="*/ 115 w 115"/>
                <a:gd name="T59" fmla="*/ 54 h 67"/>
                <a:gd name="T60" fmla="*/ 115 w 115"/>
                <a:gd name="T61" fmla="*/ 38 h 67"/>
                <a:gd name="T62" fmla="*/ 111 w 115"/>
                <a:gd name="T63" fmla="*/ 34 h 67"/>
                <a:gd name="T64" fmla="*/ 71 w 115"/>
                <a:gd name="T65" fmla="*/ 13 h 67"/>
                <a:gd name="T66" fmla="*/ 74 w 115"/>
                <a:gd name="T67" fmla="*/ 16 h 67"/>
                <a:gd name="T68" fmla="*/ 71 w 115"/>
                <a:gd name="T69" fmla="*/ 19 h 67"/>
                <a:gd name="T70" fmla="*/ 67 w 115"/>
                <a:gd name="T71" fmla="*/ 16 h 67"/>
                <a:gd name="T72" fmla="*/ 71 w 115"/>
                <a:gd name="T73" fmla="*/ 13 h 67"/>
                <a:gd name="T74" fmla="*/ 46 w 115"/>
                <a:gd name="T75" fmla="*/ 13 h 67"/>
                <a:gd name="T76" fmla="*/ 50 w 115"/>
                <a:gd name="T77" fmla="*/ 16 h 67"/>
                <a:gd name="T78" fmla="*/ 46 w 115"/>
                <a:gd name="T79" fmla="*/ 19 h 67"/>
                <a:gd name="T80" fmla="*/ 43 w 115"/>
                <a:gd name="T81" fmla="*/ 16 h 67"/>
                <a:gd name="T82" fmla="*/ 46 w 115"/>
                <a:gd name="T83" fmla="*/ 13 h 67"/>
                <a:gd name="T84" fmla="*/ 71 w 115"/>
                <a:gd name="T85" fmla="*/ 55 h 67"/>
                <a:gd name="T86" fmla="*/ 44 w 115"/>
                <a:gd name="T87" fmla="*/ 55 h 67"/>
                <a:gd name="T88" fmla="*/ 36 w 115"/>
                <a:gd name="T89" fmla="*/ 46 h 67"/>
                <a:gd name="T90" fmla="*/ 44 w 115"/>
                <a:gd name="T91" fmla="*/ 38 h 67"/>
                <a:gd name="T92" fmla="*/ 71 w 115"/>
                <a:gd name="T93" fmla="*/ 38 h 67"/>
                <a:gd name="T94" fmla="*/ 79 w 115"/>
                <a:gd name="T95" fmla="*/ 46 h 67"/>
                <a:gd name="T96" fmla="*/ 71 w 115"/>
                <a:gd name="T97" fmla="*/ 5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5" h="67">
                  <a:moveTo>
                    <a:pt x="111" y="34"/>
                  </a:moveTo>
                  <a:cubicBezTo>
                    <a:pt x="96" y="34"/>
                    <a:pt x="96" y="34"/>
                    <a:pt x="96" y="34"/>
                  </a:cubicBezTo>
                  <a:cubicBezTo>
                    <a:pt x="96" y="26"/>
                    <a:pt x="96" y="26"/>
                    <a:pt x="96" y="26"/>
                  </a:cubicBezTo>
                  <a:cubicBezTo>
                    <a:pt x="83" y="26"/>
                    <a:pt x="83" y="26"/>
                    <a:pt x="83" y="26"/>
                  </a:cubicBezTo>
                  <a:cubicBezTo>
                    <a:pt x="83" y="12"/>
                    <a:pt x="72" y="0"/>
                    <a:pt x="58" y="0"/>
                  </a:cubicBezTo>
                  <a:cubicBezTo>
                    <a:pt x="45" y="0"/>
                    <a:pt x="34" y="12"/>
                    <a:pt x="34" y="26"/>
                  </a:cubicBezTo>
                  <a:cubicBezTo>
                    <a:pt x="19" y="26"/>
                    <a:pt x="19" y="26"/>
                    <a:pt x="19" y="26"/>
                  </a:cubicBezTo>
                  <a:cubicBezTo>
                    <a:pt x="19" y="34"/>
                    <a:pt x="19" y="34"/>
                    <a:pt x="19" y="34"/>
                  </a:cubicBezTo>
                  <a:cubicBezTo>
                    <a:pt x="4" y="34"/>
                    <a:pt x="4" y="34"/>
                    <a:pt x="4" y="34"/>
                  </a:cubicBezTo>
                  <a:cubicBezTo>
                    <a:pt x="2" y="34"/>
                    <a:pt x="0" y="36"/>
                    <a:pt x="0" y="38"/>
                  </a:cubicBezTo>
                  <a:cubicBezTo>
                    <a:pt x="0" y="54"/>
                    <a:pt x="0" y="54"/>
                    <a:pt x="0" y="54"/>
                  </a:cubicBezTo>
                  <a:cubicBezTo>
                    <a:pt x="0" y="56"/>
                    <a:pt x="2" y="58"/>
                    <a:pt x="4" y="58"/>
                  </a:cubicBezTo>
                  <a:cubicBezTo>
                    <a:pt x="7" y="58"/>
                    <a:pt x="7" y="58"/>
                    <a:pt x="7" y="58"/>
                  </a:cubicBezTo>
                  <a:cubicBezTo>
                    <a:pt x="7" y="67"/>
                    <a:pt x="7" y="67"/>
                    <a:pt x="7" y="67"/>
                  </a:cubicBezTo>
                  <a:cubicBezTo>
                    <a:pt x="14" y="67"/>
                    <a:pt x="14" y="67"/>
                    <a:pt x="14" y="67"/>
                  </a:cubicBezTo>
                  <a:cubicBezTo>
                    <a:pt x="14" y="58"/>
                    <a:pt x="14" y="58"/>
                    <a:pt x="14" y="58"/>
                  </a:cubicBezTo>
                  <a:cubicBezTo>
                    <a:pt x="19" y="58"/>
                    <a:pt x="19" y="58"/>
                    <a:pt x="19" y="58"/>
                  </a:cubicBezTo>
                  <a:cubicBezTo>
                    <a:pt x="19" y="67"/>
                    <a:pt x="19" y="67"/>
                    <a:pt x="19" y="67"/>
                  </a:cubicBezTo>
                  <a:cubicBezTo>
                    <a:pt x="38" y="67"/>
                    <a:pt x="38" y="67"/>
                    <a:pt x="38" y="67"/>
                  </a:cubicBezTo>
                  <a:cubicBezTo>
                    <a:pt x="38" y="66"/>
                    <a:pt x="38" y="66"/>
                    <a:pt x="38" y="66"/>
                  </a:cubicBezTo>
                  <a:cubicBezTo>
                    <a:pt x="79" y="66"/>
                    <a:pt x="79" y="66"/>
                    <a:pt x="79" y="66"/>
                  </a:cubicBezTo>
                  <a:cubicBezTo>
                    <a:pt x="79" y="67"/>
                    <a:pt x="79" y="67"/>
                    <a:pt x="79" y="67"/>
                  </a:cubicBezTo>
                  <a:cubicBezTo>
                    <a:pt x="96" y="67"/>
                    <a:pt x="96" y="67"/>
                    <a:pt x="96" y="67"/>
                  </a:cubicBezTo>
                  <a:cubicBezTo>
                    <a:pt x="96" y="58"/>
                    <a:pt x="96" y="58"/>
                    <a:pt x="96" y="58"/>
                  </a:cubicBezTo>
                  <a:cubicBezTo>
                    <a:pt x="100" y="58"/>
                    <a:pt x="100" y="58"/>
                    <a:pt x="100" y="58"/>
                  </a:cubicBezTo>
                  <a:cubicBezTo>
                    <a:pt x="100" y="67"/>
                    <a:pt x="100" y="67"/>
                    <a:pt x="100" y="67"/>
                  </a:cubicBezTo>
                  <a:cubicBezTo>
                    <a:pt x="108" y="67"/>
                    <a:pt x="108" y="67"/>
                    <a:pt x="108" y="67"/>
                  </a:cubicBezTo>
                  <a:cubicBezTo>
                    <a:pt x="108" y="58"/>
                    <a:pt x="108" y="58"/>
                    <a:pt x="108" y="58"/>
                  </a:cubicBezTo>
                  <a:cubicBezTo>
                    <a:pt x="111" y="58"/>
                    <a:pt x="111" y="58"/>
                    <a:pt x="111" y="58"/>
                  </a:cubicBezTo>
                  <a:cubicBezTo>
                    <a:pt x="113" y="58"/>
                    <a:pt x="115" y="56"/>
                    <a:pt x="115" y="54"/>
                  </a:cubicBezTo>
                  <a:cubicBezTo>
                    <a:pt x="115" y="38"/>
                    <a:pt x="115" y="38"/>
                    <a:pt x="115" y="38"/>
                  </a:cubicBezTo>
                  <a:cubicBezTo>
                    <a:pt x="115" y="36"/>
                    <a:pt x="113" y="34"/>
                    <a:pt x="111" y="34"/>
                  </a:cubicBezTo>
                  <a:close/>
                  <a:moveTo>
                    <a:pt x="71" y="13"/>
                  </a:moveTo>
                  <a:cubicBezTo>
                    <a:pt x="72" y="13"/>
                    <a:pt x="74" y="14"/>
                    <a:pt x="74" y="16"/>
                  </a:cubicBezTo>
                  <a:cubicBezTo>
                    <a:pt x="74" y="18"/>
                    <a:pt x="72" y="19"/>
                    <a:pt x="71" y="19"/>
                  </a:cubicBezTo>
                  <a:cubicBezTo>
                    <a:pt x="69" y="19"/>
                    <a:pt x="67" y="18"/>
                    <a:pt x="67" y="16"/>
                  </a:cubicBezTo>
                  <a:cubicBezTo>
                    <a:pt x="67" y="14"/>
                    <a:pt x="69" y="13"/>
                    <a:pt x="71" y="13"/>
                  </a:cubicBezTo>
                  <a:close/>
                  <a:moveTo>
                    <a:pt x="46" y="13"/>
                  </a:moveTo>
                  <a:cubicBezTo>
                    <a:pt x="48" y="13"/>
                    <a:pt x="50" y="14"/>
                    <a:pt x="50" y="16"/>
                  </a:cubicBezTo>
                  <a:cubicBezTo>
                    <a:pt x="50" y="18"/>
                    <a:pt x="48" y="19"/>
                    <a:pt x="46" y="19"/>
                  </a:cubicBezTo>
                  <a:cubicBezTo>
                    <a:pt x="45" y="19"/>
                    <a:pt x="43" y="18"/>
                    <a:pt x="43" y="16"/>
                  </a:cubicBezTo>
                  <a:cubicBezTo>
                    <a:pt x="43" y="14"/>
                    <a:pt x="45" y="13"/>
                    <a:pt x="46" y="13"/>
                  </a:cubicBezTo>
                  <a:close/>
                  <a:moveTo>
                    <a:pt x="71" y="55"/>
                  </a:moveTo>
                  <a:cubicBezTo>
                    <a:pt x="44" y="55"/>
                    <a:pt x="44" y="55"/>
                    <a:pt x="44" y="55"/>
                  </a:cubicBezTo>
                  <a:cubicBezTo>
                    <a:pt x="40" y="55"/>
                    <a:pt x="36" y="51"/>
                    <a:pt x="36" y="46"/>
                  </a:cubicBezTo>
                  <a:cubicBezTo>
                    <a:pt x="36" y="42"/>
                    <a:pt x="40" y="38"/>
                    <a:pt x="44" y="38"/>
                  </a:cubicBezTo>
                  <a:cubicBezTo>
                    <a:pt x="71" y="38"/>
                    <a:pt x="71" y="38"/>
                    <a:pt x="71" y="38"/>
                  </a:cubicBezTo>
                  <a:cubicBezTo>
                    <a:pt x="76" y="38"/>
                    <a:pt x="79" y="42"/>
                    <a:pt x="79" y="46"/>
                  </a:cubicBezTo>
                  <a:cubicBezTo>
                    <a:pt x="79" y="51"/>
                    <a:pt x="76" y="55"/>
                    <a:pt x="71" y="5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11" name="Freeform 53">
              <a:extLst>
                <a:ext uri="{FF2B5EF4-FFF2-40B4-BE49-F238E27FC236}">
                  <a16:creationId xmlns:a16="http://schemas.microsoft.com/office/drawing/2014/main" id="{F30ACFDF-283F-4DDC-8FD1-906D7733D2AD}"/>
                </a:ext>
              </a:extLst>
            </p:cNvPr>
            <p:cNvSpPr>
              <a:spLocks/>
            </p:cNvSpPr>
            <p:nvPr/>
          </p:nvSpPr>
          <p:spPr bwMode="auto">
            <a:xfrm>
              <a:off x="4076061" y="1972572"/>
              <a:ext cx="32272" cy="13716"/>
            </a:xfrm>
            <a:custGeom>
              <a:avLst/>
              <a:gdLst>
                <a:gd name="T0" fmla="*/ 43 w 43"/>
                <a:gd name="T1" fmla="*/ 8 h 17"/>
                <a:gd name="T2" fmla="*/ 35 w 43"/>
                <a:gd name="T3" fmla="*/ 17 h 17"/>
                <a:gd name="T4" fmla="*/ 8 w 43"/>
                <a:gd name="T5" fmla="*/ 17 h 17"/>
                <a:gd name="T6" fmla="*/ 0 w 43"/>
                <a:gd name="T7" fmla="*/ 8 h 17"/>
                <a:gd name="T8" fmla="*/ 8 w 43"/>
                <a:gd name="T9" fmla="*/ 0 h 17"/>
                <a:gd name="T10" fmla="*/ 35 w 43"/>
                <a:gd name="T11" fmla="*/ 0 h 17"/>
                <a:gd name="T12" fmla="*/ 43 w 43"/>
                <a:gd name="T13" fmla="*/ 8 h 17"/>
              </a:gdLst>
              <a:ahLst/>
              <a:cxnLst>
                <a:cxn ang="0">
                  <a:pos x="T0" y="T1"/>
                </a:cxn>
                <a:cxn ang="0">
                  <a:pos x="T2" y="T3"/>
                </a:cxn>
                <a:cxn ang="0">
                  <a:pos x="T4" y="T5"/>
                </a:cxn>
                <a:cxn ang="0">
                  <a:pos x="T6" y="T7"/>
                </a:cxn>
                <a:cxn ang="0">
                  <a:pos x="T8" y="T9"/>
                </a:cxn>
                <a:cxn ang="0">
                  <a:pos x="T10" y="T11"/>
                </a:cxn>
                <a:cxn ang="0">
                  <a:pos x="T12" y="T13"/>
                </a:cxn>
              </a:cxnLst>
              <a:rect l="0" t="0" r="r" b="b"/>
              <a:pathLst>
                <a:path w="43" h="17">
                  <a:moveTo>
                    <a:pt x="43" y="8"/>
                  </a:moveTo>
                  <a:cubicBezTo>
                    <a:pt x="43" y="13"/>
                    <a:pt x="40" y="17"/>
                    <a:pt x="35" y="17"/>
                  </a:cubicBezTo>
                  <a:cubicBezTo>
                    <a:pt x="8" y="17"/>
                    <a:pt x="8" y="17"/>
                    <a:pt x="8" y="17"/>
                  </a:cubicBezTo>
                  <a:cubicBezTo>
                    <a:pt x="4" y="17"/>
                    <a:pt x="0" y="13"/>
                    <a:pt x="0" y="8"/>
                  </a:cubicBezTo>
                  <a:cubicBezTo>
                    <a:pt x="0" y="4"/>
                    <a:pt x="4" y="0"/>
                    <a:pt x="8" y="0"/>
                  </a:cubicBezTo>
                  <a:cubicBezTo>
                    <a:pt x="35" y="0"/>
                    <a:pt x="35" y="0"/>
                    <a:pt x="35" y="0"/>
                  </a:cubicBezTo>
                  <a:cubicBezTo>
                    <a:pt x="40" y="0"/>
                    <a:pt x="43" y="4"/>
                    <a:pt x="43" y="8"/>
                  </a:cubicBezTo>
                  <a:close/>
                </a:path>
              </a:pathLst>
            </a:custGeom>
            <a:solidFill>
              <a:srgbClr val="505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12" name="Freeform 54">
              <a:extLst>
                <a:ext uri="{FF2B5EF4-FFF2-40B4-BE49-F238E27FC236}">
                  <a16:creationId xmlns:a16="http://schemas.microsoft.com/office/drawing/2014/main" id="{F917A5A5-1761-43E9-BBF3-5C3E4D3FDEA3}"/>
                </a:ext>
              </a:extLst>
            </p:cNvPr>
            <p:cNvSpPr>
              <a:spLocks/>
            </p:cNvSpPr>
            <p:nvPr/>
          </p:nvSpPr>
          <p:spPr bwMode="auto">
            <a:xfrm>
              <a:off x="4092197" y="1975799"/>
              <a:ext cx="1614" cy="8068"/>
            </a:xfrm>
            <a:custGeom>
              <a:avLst/>
              <a:gdLst>
                <a:gd name="T0" fmla="*/ 2 w 2"/>
                <a:gd name="T1" fmla="*/ 9 h 10"/>
                <a:gd name="T2" fmla="*/ 1 w 2"/>
                <a:gd name="T3" fmla="*/ 10 h 10"/>
                <a:gd name="T4" fmla="*/ 0 w 2"/>
                <a:gd name="T5" fmla="*/ 9 h 10"/>
                <a:gd name="T6" fmla="*/ 0 w 2"/>
                <a:gd name="T7" fmla="*/ 1 h 10"/>
                <a:gd name="T8" fmla="*/ 1 w 2"/>
                <a:gd name="T9" fmla="*/ 0 h 10"/>
                <a:gd name="T10" fmla="*/ 2 w 2"/>
                <a:gd name="T11" fmla="*/ 1 h 10"/>
                <a:gd name="T12" fmla="*/ 2 w 2"/>
                <a:gd name="T13" fmla="*/ 9 h 10"/>
              </a:gdLst>
              <a:ahLst/>
              <a:cxnLst>
                <a:cxn ang="0">
                  <a:pos x="T0" y="T1"/>
                </a:cxn>
                <a:cxn ang="0">
                  <a:pos x="T2" y="T3"/>
                </a:cxn>
                <a:cxn ang="0">
                  <a:pos x="T4" y="T5"/>
                </a:cxn>
                <a:cxn ang="0">
                  <a:pos x="T6" y="T7"/>
                </a:cxn>
                <a:cxn ang="0">
                  <a:pos x="T8" y="T9"/>
                </a:cxn>
                <a:cxn ang="0">
                  <a:pos x="T10" y="T11"/>
                </a:cxn>
                <a:cxn ang="0">
                  <a:pos x="T12" y="T13"/>
                </a:cxn>
              </a:cxnLst>
              <a:rect l="0" t="0" r="r" b="b"/>
              <a:pathLst>
                <a:path w="2" h="10">
                  <a:moveTo>
                    <a:pt x="2" y="9"/>
                  </a:moveTo>
                  <a:cubicBezTo>
                    <a:pt x="2" y="10"/>
                    <a:pt x="1" y="10"/>
                    <a:pt x="1" y="10"/>
                  </a:cubicBezTo>
                  <a:cubicBezTo>
                    <a:pt x="0" y="10"/>
                    <a:pt x="0" y="10"/>
                    <a:pt x="0" y="9"/>
                  </a:cubicBezTo>
                  <a:cubicBezTo>
                    <a:pt x="0" y="1"/>
                    <a:pt x="0" y="1"/>
                    <a:pt x="0" y="1"/>
                  </a:cubicBezTo>
                  <a:cubicBezTo>
                    <a:pt x="0" y="0"/>
                    <a:pt x="0" y="0"/>
                    <a:pt x="1" y="0"/>
                  </a:cubicBezTo>
                  <a:cubicBezTo>
                    <a:pt x="1" y="0"/>
                    <a:pt x="2" y="0"/>
                    <a:pt x="2" y="1"/>
                  </a:cubicBezTo>
                  <a:lnTo>
                    <a:pt x="2" y="9"/>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13" name="Freeform 55">
              <a:extLst>
                <a:ext uri="{FF2B5EF4-FFF2-40B4-BE49-F238E27FC236}">
                  <a16:creationId xmlns:a16="http://schemas.microsoft.com/office/drawing/2014/main" id="{4C462184-44C1-493A-92D1-48B55589069D}"/>
                </a:ext>
              </a:extLst>
            </p:cNvPr>
            <p:cNvSpPr>
              <a:spLocks/>
            </p:cNvSpPr>
            <p:nvPr/>
          </p:nvSpPr>
          <p:spPr bwMode="auto">
            <a:xfrm>
              <a:off x="4088163" y="1975799"/>
              <a:ext cx="1614" cy="8068"/>
            </a:xfrm>
            <a:custGeom>
              <a:avLst/>
              <a:gdLst>
                <a:gd name="T0" fmla="*/ 2 w 2"/>
                <a:gd name="T1" fmla="*/ 9 h 10"/>
                <a:gd name="T2" fmla="*/ 1 w 2"/>
                <a:gd name="T3" fmla="*/ 10 h 10"/>
                <a:gd name="T4" fmla="*/ 0 w 2"/>
                <a:gd name="T5" fmla="*/ 9 h 10"/>
                <a:gd name="T6" fmla="*/ 0 w 2"/>
                <a:gd name="T7" fmla="*/ 1 h 10"/>
                <a:gd name="T8" fmla="*/ 1 w 2"/>
                <a:gd name="T9" fmla="*/ 0 h 10"/>
                <a:gd name="T10" fmla="*/ 2 w 2"/>
                <a:gd name="T11" fmla="*/ 1 h 10"/>
                <a:gd name="T12" fmla="*/ 2 w 2"/>
                <a:gd name="T13" fmla="*/ 9 h 10"/>
              </a:gdLst>
              <a:ahLst/>
              <a:cxnLst>
                <a:cxn ang="0">
                  <a:pos x="T0" y="T1"/>
                </a:cxn>
                <a:cxn ang="0">
                  <a:pos x="T2" y="T3"/>
                </a:cxn>
                <a:cxn ang="0">
                  <a:pos x="T4" y="T5"/>
                </a:cxn>
                <a:cxn ang="0">
                  <a:pos x="T6" y="T7"/>
                </a:cxn>
                <a:cxn ang="0">
                  <a:pos x="T8" y="T9"/>
                </a:cxn>
                <a:cxn ang="0">
                  <a:pos x="T10" y="T11"/>
                </a:cxn>
                <a:cxn ang="0">
                  <a:pos x="T12" y="T13"/>
                </a:cxn>
              </a:cxnLst>
              <a:rect l="0" t="0" r="r" b="b"/>
              <a:pathLst>
                <a:path w="2" h="10">
                  <a:moveTo>
                    <a:pt x="2" y="9"/>
                  </a:moveTo>
                  <a:cubicBezTo>
                    <a:pt x="2" y="10"/>
                    <a:pt x="1" y="10"/>
                    <a:pt x="1" y="10"/>
                  </a:cubicBezTo>
                  <a:cubicBezTo>
                    <a:pt x="0" y="10"/>
                    <a:pt x="0" y="10"/>
                    <a:pt x="0" y="9"/>
                  </a:cubicBezTo>
                  <a:cubicBezTo>
                    <a:pt x="0" y="1"/>
                    <a:pt x="0" y="1"/>
                    <a:pt x="0" y="1"/>
                  </a:cubicBezTo>
                  <a:cubicBezTo>
                    <a:pt x="0" y="0"/>
                    <a:pt x="0" y="0"/>
                    <a:pt x="1" y="0"/>
                  </a:cubicBezTo>
                  <a:cubicBezTo>
                    <a:pt x="1" y="0"/>
                    <a:pt x="2" y="0"/>
                    <a:pt x="2" y="1"/>
                  </a:cubicBezTo>
                  <a:lnTo>
                    <a:pt x="2" y="9"/>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14" name="Freeform 56">
              <a:extLst>
                <a:ext uri="{FF2B5EF4-FFF2-40B4-BE49-F238E27FC236}">
                  <a16:creationId xmlns:a16="http://schemas.microsoft.com/office/drawing/2014/main" id="{BF696AB9-34EF-4F1F-AD1B-EC88ED23AE6F}"/>
                </a:ext>
              </a:extLst>
            </p:cNvPr>
            <p:cNvSpPr>
              <a:spLocks/>
            </p:cNvSpPr>
            <p:nvPr/>
          </p:nvSpPr>
          <p:spPr bwMode="auto">
            <a:xfrm>
              <a:off x="4084129" y="1975799"/>
              <a:ext cx="1614" cy="8068"/>
            </a:xfrm>
            <a:custGeom>
              <a:avLst/>
              <a:gdLst>
                <a:gd name="T0" fmla="*/ 2 w 2"/>
                <a:gd name="T1" fmla="*/ 9 h 10"/>
                <a:gd name="T2" fmla="*/ 1 w 2"/>
                <a:gd name="T3" fmla="*/ 10 h 10"/>
                <a:gd name="T4" fmla="*/ 0 w 2"/>
                <a:gd name="T5" fmla="*/ 9 h 10"/>
                <a:gd name="T6" fmla="*/ 0 w 2"/>
                <a:gd name="T7" fmla="*/ 1 h 10"/>
                <a:gd name="T8" fmla="*/ 1 w 2"/>
                <a:gd name="T9" fmla="*/ 0 h 10"/>
                <a:gd name="T10" fmla="*/ 2 w 2"/>
                <a:gd name="T11" fmla="*/ 1 h 10"/>
                <a:gd name="T12" fmla="*/ 2 w 2"/>
                <a:gd name="T13" fmla="*/ 9 h 10"/>
              </a:gdLst>
              <a:ahLst/>
              <a:cxnLst>
                <a:cxn ang="0">
                  <a:pos x="T0" y="T1"/>
                </a:cxn>
                <a:cxn ang="0">
                  <a:pos x="T2" y="T3"/>
                </a:cxn>
                <a:cxn ang="0">
                  <a:pos x="T4" y="T5"/>
                </a:cxn>
                <a:cxn ang="0">
                  <a:pos x="T6" y="T7"/>
                </a:cxn>
                <a:cxn ang="0">
                  <a:pos x="T8" y="T9"/>
                </a:cxn>
                <a:cxn ang="0">
                  <a:pos x="T10" y="T11"/>
                </a:cxn>
                <a:cxn ang="0">
                  <a:pos x="T12" y="T13"/>
                </a:cxn>
              </a:cxnLst>
              <a:rect l="0" t="0" r="r" b="b"/>
              <a:pathLst>
                <a:path w="2" h="10">
                  <a:moveTo>
                    <a:pt x="2" y="9"/>
                  </a:moveTo>
                  <a:cubicBezTo>
                    <a:pt x="2" y="10"/>
                    <a:pt x="2" y="10"/>
                    <a:pt x="1" y="10"/>
                  </a:cubicBezTo>
                  <a:cubicBezTo>
                    <a:pt x="1" y="10"/>
                    <a:pt x="0" y="10"/>
                    <a:pt x="0" y="9"/>
                  </a:cubicBezTo>
                  <a:cubicBezTo>
                    <a:pt x="0" y="1"/>
                    <a:pt x="0" y="1"/>
                    <a:pt x="0" y="1"/>
                  </a:cubicBezTo>
                  <a:cubicBezTo>
                    <a:pt x="0" y="0"/>
                    <a:pt x="1" y="0"/>
                    <a:pt x="1" y="0"/>
                  </a:cubicBezTo>
                  <a:cubicBezTo>
                    <a:pt x="2" y="0"/>
                    <a:pt x="2" y="0"/>
                    <a:pt x="2" y="1"/>
                  </a:cubicBezTo>
                  <a:lnTo>
                    <a:pt x="2" y="9"/>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15" name="Freeform 57">
              <a:extLst>
                <a:ext uri="{FF2B5EF4-FFF2-40B4-BE49-F238E27FC236}">
                  <a16:creationId xmlns:a16="http://schemas.microsoft.com/office/drawing/2014/main" id="{771A6558-D561-467D-853F-EE89C142443A}"/>
                </a:ext>
              </a:extLst>
            </p:cNvPr>
            <p:cNvSpPr>
              <a:spLocks/>
            </p:cNvSpPr>
            <p:nvPr/>
          </p:nvSpPr>
          <p:spPr bwMode="auto">
            <a:xfrm>
              <a:off x="4080902" y="1975799"/>
              <a:ext cx="1614" cy="8068"/>
            </a:xfrm>
            <a:custGeom>
              <a:avLst/>
              <a:gdLst>
                <a:gd name="T0" fmla="*/ 2 w 2"/>
                <a:gd name="T1" fmla="*/ 9 h 10"/>
                <a:gd name="T2" fmla="*/ 1 w 2"/>
                <a:gd name="T3" fmla="*/ 10 h 10"/>
                <a:gd name="T4" fmla="*/ 0 w 2"/>
                <a:gd name="T5" fmla="*/ 9 h 10"/>
                <a:gd name="T6" fmla="*/ 0 w 2"/>
                <a:gd name="T7" fmla="*/ 1 h 10"/>
                <a:gd name="T8" fmla="*/ 1 w 2"/>
                <a:gd name="T9" fmla="*/ 0 h 10"/>
                <a:gd name="T10" fmla="*/ 2 w 2"/>
                <a:gd name="T11" fmla="*/ 1 h 10"/>
                <a:gd name="T12" fmla="*/ 2 w 2"/>
                <a:gd name="T13" fmla="*/ 9 h 10"/>
              </a:gdLst>
              <a:ahLst/>
              <a:cxnLst>
                <a:cxn ang="0">
                  <a:pos x="T0" y="T1"/>
                </a:cxn>
                <a:cxn ang="0">
                  <a:pos x="T2" y="T3"/>
                </a:cxn>
                <a:cxn ang="0">
                  <a:pos x="T4" y="T5"/>
                </a:cxn>
                <a:cxn ang="0">
                  <a:pos x="T6" y="T7"/>
                </a:cxn>
                <a:cxn ang="0">
                  <a:pos x="T8" y="T9"/>
                </a:cxn>
                <a:cxn ang="0">
                  <a:pos x="T10" y="T11"/>
                </a:cxn>
                <a:cxn ang="0">
                  <a:pos x="T12" y="T13"/>
                </a:cxn>
              </a:cxnLst>
              <a:rect l="0" t="0" r="r" b="b"/>
              <a:pathLst>
                <a:path w="2" h="10">
                  <a:moveTo>
                    <a:pt x="2" y="9"/>
                  </a:moveTo>
                  <a:cubicBezTo>
                    <a:pt x="2" y="10"/>
                    <a:pt x="2" y="10"/>
                    <a:pt x="1" y="10"/>
                  </a:cubicBezTo>
                  <a:cubicBezTo>
                    <a:pt x="1" y="10"/>
                    <a:pt x="0" y="10"/>
                    <a:pt x="0" y="9"/>
                  </a:cubicBezTo>
                  <a:cubicBezTo>
                    <a:pt x="0" y="1"/>
                    <a:pt x="0" y="1"/>
                    <a:pt x="0" y="1"/>
                  </a:cubicBezTo>
                  <a:cubicBezTo>
                    <a:pt x="0" y="0"/>
                    <a:pt x="1" y="0"/>
                    <a:pt x="1" y="0"/>
                  </a:cubicBezTo>
                  <a:cubicBezTo>
                    <a:pt x="2" y="0"/>
                    <a:pt x="2" y="0"/>
                    <a:pt x="2" y="1"/>
                  </a:cubicBezTo>
                  <a:lnTo>
                    <a:pt x="2" y="9"/>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16" name="Freeform 58">
              <a:extLst>
                <a:ext uri="{FF2B5EF4-FFF2-40B4-BE49-F238E27FC236}">
                  <a16:creationId xmlns:a16="http://schemas.microsoft.com/office/drawing/2014/main" id="{EDAFF751-5955-4144-912E-A51B6650A876}"/>
                </a:ext>
              </a:extLst>
            </p:cNvPr>
            <p:cNvSpPr>
              <a:spLocks/>
            </p:cNvSpPr>
            <p:nvPr/>
          </p:nvSpPr>
          <p:spPr bwMode="auto">
            <a:xfrm>
              <a:off x="4102686" y="1975799"/>
              <a:ext cx="1614" cy="8068"/>
            </a:xfrm>
            <a:custGeom>
              <a:avLst/>
              <a:gdLst>
                <a:gd name="T0" fmla="*/ 2 w 2"/>
                <a:gd name="T1" fmla="*/ 9 h 10"/>
                <a:gd name="T2" fmla="*/ 1 w 2"/>
                <a:gd name="T3" fmla="*/ 10 h 10"/>
                <a:gd name="T4" fmla="*/ 0 w 2"/>
                <a:gd name="T5" fmla="*/ 9 h 10"/>
                <a:gd name="T6" fmla="*/ 0 w 2"/>
                <a:gd name="T7" fmla="*/ 1 h 10"/>
                <a:gd name="T8" fmla="*/ 1 w 2"/>
                <a:gd name="T9" fmla="*/ 0 h 10"/>
                <a:gd name="T10" fmla="*/ 2 w 2"/>
                <a:gd name="T11" fmla="*/ 1 h 10"/>
                <a:gd name="T12" fmla="*/ 2 w 2"/>
                <a:gd name="T13" fmla="*/ 9 h 10"/>
              </a:gdLst>
              <a:ahLst/>
              <a:cxnLst>
                <a:cxn ang="0">
                  <a:pos x="T0" y="T1"/>
                </a:cxn>
                <a:cxn ang="0">
                  <a:pos x="T2" y="T3"/>
                </a:cxn>
                <a:cxn ang="0">
                  <a:pos x="T4" y="T5"/>
                </a:cxn>
                <a:cxn ang="0">
                  <a:pos x="T6" y="T7"/>
                </a:cxn>
                <a:cxn ang="0">
                  <a:pos x="T8" y="T9"/>
                </a:cxn>
                <a:cxn ang="0">
                  <a:pos x="T10" y="T11"/>
                </a:cxn>
                <a:cxn ang="0">
                  <a:pos x="T12" y="T13"/>
                </a:cxn>
              </a:cxnLst>
              <a:rect l="0" t="0" r="r" b="b"/>
              <a:pathLst>
                <a:path w="2" h="10">
                  <a:moveTo>
                    <a:pt x="2" y="9"/>
                  </a:moveTo>
                  <a:cubicBezTo>
                    <a:pt x="2" y="10"/>
                    <a:pt x="2" y="10"/>
                    <a:pt x="1" y="10"/>
                  </a:cubicBezTo>
                  <a:cubicBezTo>
                    <a:pt x="0" y="10"/>
                    <a:pt x="0" y="10"/>
                    <a:pt x="0" y="9"/>
                  </a:cubicBezTo>
                  <a:cubicBezTo>
                    <a:pt x="0" y="1"/>
                    <a:pt x="0" y="1"/>
                    <a:pt x="0" y="1"/>
                  </a:cubicBezTo>
                  <a:cubicBezTo>
                    <a:pt x="0" y="0"/>
                    <a:pt x="0" y="0"/>
                    <a:pt x="1" y="0"/>
                  </a:cubicBezTo>
                  <a:cubicBezTo>
                    <a:pt x="2" y="0"/>
                    <a:pt x="2" y="0"/>
                    <a:pt x="2" y="1"/>
                  </a:cubicBezTo>
                  <a:lnTo>
                    <a:pt x="2" y="9"/>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17" name="Freeform 59">
              <a:extLst>
                <a:ext uri="{FF2B5EF4-FFF2-40B4-BE49-F238E27FC236}">
                  <a16:creationId xmlns:a16="http://schemas.microsoft.com/office/drawing/2014/main" id="{91F7C94A-D978-4603-AAFF-3CEF899734C9}"/>
                </a:ext>
              </a:extLst>
            </p:cNvPr>
            <p:cNvSpPr>
              <a:spLocks/>
            </p:cNvSpPr>
            <p:nvPr/>
          </p:nvSpPr>
          <p:spPr bwMode="auto">
            <a:xfrm>
              <a:off x="4098652" y="1975799"/>
              <a:ext cx="1614" cy="8068"/>
            </a:xfrm>
            <a:custGeom>
              <a:avLst/>
              <a:gdLst>
                <a:gd name="T0" fmla="*/ 2 w 2"/>
                <a:gd name="T1" fmla="*/ 9 h 10"/>
                <a:gd name="T2" fmla="*/ 1 w 2"/>
                <a:gd name="T3" fmla="*/ 10 h 10"/>
                <a:gd name="T4" fmla="*/ 0 w 2"/>
                <a:gd name="T5" fmla="*/ 9 h 10"/>
                <a:gd name="T6" fmla="*/ 0 w 2"/>
                <a:gd name="T7" fmla="*/ 1 h 10"/>
                <a:gd name="T8" fmla="*/ 1 w 2"/>
                <a:gd name="T9" fmla="*/ 0 h 10"/>
                <a:gd name="T10" fmla="*/ 2 w 2"/>
                <a:gd name="T11" fmla="*/ 1 h 10"/>
                <a:gd name="T12" fmla="*/ 2 w 2"/>
                <a:gd name="T13" fmla="*/ 9 h 10"/>
              </a:gdLst>
              <a:ahLst/>
              <a:cxnLst>
                <a:cxn ang="0">
                  <a:pos x="T0" y="T1"/>
                </a:cxn>
                <a:cxn ang="0">
                  <a:pos x="T2" y="T3"/>
                </a:cxn>
                <a:cxn ang="0">
                  <a:pos x="T4" y="T5"/>
                </a:cxn>
                <a:cxn ang="0">
                  <a:pos x="T6" y="T7"/>
                </a:cxn>
                <a:cxn ang="0">
                  <a:pos x="T8" y="T9"/>
                </a:cxn>
                <a:cxn ang="0">
                  <a:pos x="T10" y="T11"/>
                </a:cxn>
                <a:cxn ang="0">
                  <a:pos x="T12" y="T13"/>
                </a:cxn>
              </a:cxnLst>
              <a:rect l="0" t="0" r="r" b="b"/>
              <a:pathLst>
                <a:path w="2" h="10">
                  <a:moveTo>
                    <a:pt x="2" y="9"/>
                  </a:moveTo>
                  <a:cubicBezTo>
                    <a:pt x="2" y="10"/>
                    <a:pt x="2" y="10"/>
                    <a:pt x="1" y="10"/>
                  </a:cubicBezTo>
                  <a:cubicBezTo>
                    <a:pt x="1" y="10"/>
                    <a:pt x="0" y="10"/>
                    <a:pt x="0" y="9"/>
                  </a:cubicBezTo>
                  <a:cubicBezTo>
                    <a:pt x="0" y="1"/>
                    <a:pt x="0" y="1"/>
                    <a:pt x="0" y="1"/>
                  </a:cubicBezTo>
                  <a:cubicBezTo>
                    <a:pt x="0" y="0"/>
                    <a:pt x="1" y="0"/>
                    <a:pt x="1" y="0"/>
                  </a:cubicBezTo>
                  <a:cubicBezTo>
                    <a:pt x="2" y="0"/>
                    <a:pt x="2" y="0"/>
                    <a:pt x="2" y="1"/>
                  </a:cubicBezTo>
                  <a:lnTo>
                    <a:pt x="2" y="9"/>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18" name="Freeform 60">
              <a:extLst>
                <a:ext uri="{FF2B5EF4-FFF2-40B4-BE49-F238E27FC236}">
                  <a16:creationId xmlns:a16="http://schemas.microsoft.com/office/drawing/2014/main" id="{ED999DE6-4347-4325-8A82-05FD1BEFA66A}"/>
                </a:ext>
              </a:extLst>
            </p:cNvPr>
            <p:cNvSpPr>
              <a:spLocks/>
            </p:cNvSpPr>
            <p:nvPr/>
          </p:nvSpPr>
          <p:spPr bwMode="auto">
            <a:xfrm>
              <a:off x="4094617" y="1975799"/>
              <a:ext cx="1614" cy="8068"/>
            </a:xfrm>
            <a:custGeom>
              <a:avLst/>
              <a:gdLst>
                <a:gd name="T0" fmla="*/ 2 w 2"/>
                <a:gd name="T1" fmla="*/ 9 h 10"/>
                <a:gd name="T2" fmla="*/ 1 w 2"/>
                <a:gd name="T3" fmla="*/ 10 h 10"/>
                <a:gd name="T4" fmla="*/ 0 w 2"/>
                <a:gd name="T5" fmla="*/ 9 h 10"/>
                <a:gd name="T6" fmla="*/ 0 w 2"/>
                <a:gd name="T7" fmla="*/ 1 h 10"/>
                <a:gd name="T8" fmla="*/ 1 w 2"/>
                <a:gd name="T9" fmla="*/ 0 h 10"/>
                <a:gd name="T10" fmla="*/ 2 w 2"/>
                <a:gd name="T11" fmla="*/ 1 h 10"/>
                <a:gd name="T12" fmla="*/ 2 w 2"/>
                <a:gd name="T13" fmla="*/ 9 h 10"/>
              </a:gdLst>
              <a:ahLst/>
              <a:cxnLst>
                <a:cxn ang="0">
                  <a:pos x="T0" y="T1"/>
                </a:cxn>
                <a:cxn ang="0">
                  <a:pos x="T2" y="T3"/>
                </a:cxn>
                <a:cxn ang="0">
                  <a:pos x="T4" y="T5"/>
                </a:cxn>
                <a:cxn ang="0">
                  <a:pos x="T6" y="T7"/>
                </a:cxn>
                <a:cxn ang="0">
                  <a:pos x="T8" y="T9"/>
                </a:cxn>
                <a:cxn ang="0">
                  <a:pos x="T10" y="T11"/>
                </a:cxn>
                <a:cxn ang="0">
                  <a:pos x="T12" y="T13"/>
                </a:cxn>
              </a:cxnLst>
              <a:rect l="0" t="0" r="r" b="b"/>
              <a:pathLst>
                <a:path w="2" h="10">
                  <a:moveTo>
                    <a:pt x="2" y="9"/>
                  </a:moveTo>
                  <a:cubicBezTo>
                    <a:pt x="2" y="10"/>
                    <a:pt x="2" y="10"/>
                    <a:pt x="1" y="10"/>
                  </a:cubicBezTo>
                  <a:cubicBezTo>
                    <a:pt x="1" y="10"/>
                    <a:pt x="0" y="10"/>
                    <a:pt x="0" y="9"/>
                  </a:cubicBezTo>
                  <a:cubicBezTo>
                    <a:pt x="0" y="1"/>
                    <a:pt x="0" y="1"/>
                    <a:pt x="0" y="1"/>
                  </a:cubicBezTo>
                  <a:cubicBezTo>
                    <a:pt x="0" y="0"/>
                    <a:pt x="1" y="0"/>
                    <a:pt x="1" y="0"/>
                  </a:cubicBezTo>
                  <a:cubicBezTo>
                    <a:pt x="2" y="0"/>
                    <a:pt x="2" y="0"/>
                    <a:pt x="2" y="1"/>
                  </a:cubicBezTo>
                  <a:lnTo>
                    <a:pt x="2" y="9"/>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19" name="Rectangle 61">
              <a:extLst>
                <a:ext uri="{FF2B5EF4-FFF2-40B4-BE49-F238E27FC236}">
                  <a16:creationId xmlns:a16="http://schemas.microsoft.com/office/drawing/2014/main" id="{A0C21D5F-CC99-4C35-8CB5-6D4E4A4A6360}"/>
                </a:ext>
              </a:extLst>
            </p:cNvPr>
            <p:cNvSpPr>
              <a:spLocks noChangeArrowheads="1"/>
            </p:cNvSpPr>
            <p:nvPr/>
          </p:nvSpPr>
          <p:spPr bwMode="auto">
            <a:xfrm>
              <a:off x="4078481" y="2027435"/>
              <a:ext cx="4841" cy="7261"/>
            </a:xfrm>
            <a:prstGeom prst="rect">
              <a:avLst/>
            </a:prstGeom>
            <a:solidFill>
              <a:srgbClr val="5051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20" name="Rectangle 62">
              <a:extLst>
                <a:ext uri="{FF2B5EF4-FFF2-40B4-BE49-F238E27FC236}">
                  <a16:creationId xmlns:a16="http://schemas.microsoft.com/office/drawing/2014/main" id="{87CFB0D6-5C21-4C93-BE91-69F7E8934DD0}"/>
                </a:ext>
              </a:extLst>
            </p:cNvPr>
            <p:cNvSpPr>
              <a:spLocks noChangeArrowheads="1"/>
            </p:cNvSpPr>
            <p:nvPr/>
          </p:nvSpPr>
          <p:spPr bwMode="auto">
            <a:xfrm>
              <a:off x="4103492" y="2027435"/>
              <a:ext cx="5648" cy="7261"/>
            </a:xfrm>
            <a:prstGeom prst="rect">
              <a:avLst/>
            </a:prstGeom>
            <a:solidFill>
              <a:srgbClr val="5051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21" name="Rectangle 63">
              <a:extLst>
                <a:ext uri="{FF2B5EF4-FFF2-40B4-BE49-F238E27FC236}">
                  <a16:creationId xmlns:a16="http://schemas.microsoft.com/office/drawing/2014/main" id="{CDC2C0D8-CFD6-4578-AE74-FB1937A1D0BB}"/>
                </a:ext>
              </a:extLst>
            </p:cNvPr>
            <p:cNvSpPr>
              <a:spLocks noChangeArrowheads="1"/>
            </p:cNvSpPr>
            <p:nvPr/>
          </p:nvSpPr>
          <p:spPr bwMode="auto">
            <a:xfrm>
              <a:off x="4124469" y="2018560"/>
              <a:ext cx="5648" cy="7261"/>
            </a:xfrm>
            <a:prstGeom prst="rect">
              <a:avLst/>
            </a:prstGeom>
            <a:solidFill>
              <a:srgbClr val="5051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22" name="Freeform 64">
              <a:extLst>
                <a:ext uri="{FF2B5EF4-FFF2-40B4-BE49-F238E27FC236}">
                  <a16:creationId xmlns:a16="http://schemas.microsoft.com/office/drawing/2014/main" id="{F6A14EEE-42B2-4A7E-B808-43C739631739}"/>
                </a:ext>
              </a:extLst>
            </p:cNvPr>
            <p:cNvSpPr>
              <a:spLocks/>
            </p:cNvSpPr>
            <p:nvPr/>
          </p:nvSpPr>
          <p:spPr bwMode="auto">
            <a:xfrm>
              <a:off x="4126890" y="1599020"/>
              <a:ext cx="11295" cy="42761"/>
            </a:xfrm>
            <a:custGeom>
              <a:avLst/>
              <a:gdLst>
                <a:gd name="T0" fmla="*/ 0 w 14"/>
                <a:gd name="T1" fmla="*/ 53 h 53"/>
                <a:gd name="T2" fmla="*/ 11 w 14"/>
                <a:gd name="T3" fmla="*/ 0 h 53"/>
                <a:gd name="T4" fmla="*/ 14 w 14"/>
                <a:gd name="T5" fmla="*/ 53 h 53"/>
                <a:gd name="T6" fmla="*/ 0 w 14"/>
                <a:gd name="T7" fmla="*/ 53 h 53"/>
              </a:gdLst>
              <a:ahLst/>
              <a:cxnLst>
                <a:cxn ang="0">
                  <a:pos x="T0" y="T1"/>
                </a:cxn>
                <a:cxn ang="0">
                  <a:pos x="T2" y="T3"/>
                </a:cxn>
                <a:cxn ang="0">
                  <a:pos x="T4" y="T5"/>
                </a:cxn>
                <a:cxn ang="0">
                  <a:pos x="T6" y="T7"/>
                </a:cxn>
              </a:cxnLst>
              <a:rect l="0" t="0" r="r" b="b"/>
              <a:pathLst>
                <a:path w="14" h="53">
                  <a:moveTo>
                    <a:pt x="0" y="53"/>
                  </a:moveTo>
                  <a:lnTo>
                    <a:pt x="11" y="0"/>
                  </a:lnTo>
                  <a:lnTo>
                    <a:pt x="14" y="53"/>
                  </a:lnTo>
                  <a:lnTo>
                    <a:pt x="0" y="53"/>
                  </a:lnTo>
                  <a:close/>
                </a:path>
              </a:pathLst>
            </a:custGeom>
            <a:solidFill>
              <a:srgbClr val="D8B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23" name="Freeform 65">
              <a:extLst>
                <a:ext uri="{FF2B5EF4-FFF2-40B4-BE49-F238E27FC236}">
                  <a16:creationId xmlns:a16="http://schemas.microsoft.com/office/drawing/2014/main" id="{DF723391-C4F7-4078-BA7B-76E433576793}"/>
                </a:ext>
              </a:extLst>
            </p:cNvPr>
            <p:cNvSpPr>
              <a:spLocks noEditPoints="1"/>
            </p:cNvSpPr>
            <p:nvPr/>
          </p:nvSpPr>
          <p:spPr bwMode="auto">
            <a:xfrm>
              <a:off x="4027652" y="1661951"/>
              <a:ext cx="131510" cy="50022"/>
            </a:xfrm>
            <a:custGeom>
              <a:avLst/>
              <a:gdLst>
                <a:gd name="T0" fmla="*/ 172 w 174"/>
                <a:gd name="T1" fmla="*/ 5 h 66"/>
                <a:gd name="T2" fmla="*/ 162 w 174"/>
                <a:gd name="T3" fmla="*/ 3 h 66"/>
                <a:gd name="T4" fmla="*/ 137 w 174"/>
                <a:gd name="T5" fmla="*/ 0 h 66"/>
                <a:gd name="T6" fmla="*/ 96 w 174"/>
                <a:gd name="T7" fmla="*/ 7 h 66"/>
                <a:gd name="T8" fmla="*/ 87 w 174"/>
                <a:gd name="T9" fmla="*/ 7 h 66"/>
                <a:gd name="T10" fmla="*/ 78 w 174"/>
                <a:gd name="T11" fmla="*/ 7 h 66"/>
                <a:gd name="T12" fmla="*/ 38 w 174"/>
                <a:gd name="T13" fmla="*/ 0 h 66"/>
                <a:gd name="T14" fmla="*/ 9 w 174"/>
                <a:gd name="T15" fmla="*/ 4 h 66"/>
                <a:gd name="T16" fmla="*/ 3 w 174"/>
                <a:gd name="T17" fmla="*/ 5 h 66"/>
                <a:gd name="T18" fmla="*/ 2 w 174"/>
                <a:gd name="T19" fmla="*/ 5 h 66"/>
                <a:gd name="T20" fmla="*/ 0 w 174"/>
                <a:gd name="T21" fmla="*/ 9 h 66"/>
                <a:gd name="T22" fmla="*/ 0 w 174"/>
                <a:gd name="T23" fmla="*/ 18 h 66"/>
                <a:gd name="T24" fmla="*/ 5 w 174"/>
                <a:gd name="T25" fmla="*/ 22 h 66"/>
                <a:gd name="T26" fmla="*/ 7 w 174"/>
                <a:gd name="T27" fmla="*/ 32 h 66"/>
                <a:gd name="T28" fmla="*/ 10 w 174"/>
                <a:gd name="T29" fmla="*/ 47 h 66"/>
                <a:gd name="T30" fmla="*/ 15 w 174"/>
                <a:gd name="T31" fmla="*/ 58 h 66"/>
                <a:gd name="T32" fmla="*/ 15 w 174"/>
                <a:gd name="T33" fmla="*/ 58 h 66"/>
                <a:gd name="T34" fmla="*/ 24 w 174"/>
                <a:gd name="T35" fmla="*/ 63 h 66"/>
                <a:gd name="T36" fmla="*/ 38 w 174"/>
                <a:gd name="T37" fmla="*/ 66 h 66"/>
                <a:gd name="T38" fmla="*/ 71 w 174"/>
                <a:gd name="T39" fmla="*/ 49 h 66"/>
                <a:gd name="T40" fmla="*/ 77 w 174"/>
                <a:gd name="T41" fmla="*/ 35 h 66"/>
                <a:gd name="T42" fmla="*/ 81 w 174"/>
                <a:gd name="T43" fmla="*/ 26 h 66"/>
                <a:gd name="T44" fmla="*/ 87 w 174"/>
                <a:gd name="T45" fmla="*/ 22 h 66"/>
                <a:gd name="T46" fmla="*/ 104 w 174"/>
                <a:gd name="T47" fmla="*/ 49 h 66"/>
                <a:gd name="T48" fmla="*/ 136 w 174"/>
                <a:gd name="T49" fmla="*/ 66 h 66"/>
                <a:gd name="T50" fmla="*/ 159 w 174"/>
                <a:gd name="T51" fmla="*/ 58 h 66"/>
                <a:gd name="T52" fmla="*/ 159 w 174"/>
                <a:gd name="T53" fmla="*/ 58 h 66"/>
                <a:gd name="T54" fmla="*/ 159 w 174"/>
                <a:gd name="T55" fmla="*/ 58 h 66"/>
                <a:gd name="T56" fmla="*/ 165 w 174"/>
                <a:gd name="T57" fmla="*/ 47 h 66"/>
                <a:gd name="T58" fmla="*/ 165 w 174"/>
                <a:gd name="T59" fmla="*/ 45 h 66"/>
                <a:gd name="T60" fmla="*/ 169 w 174"/>
                <a:gd name="T61" fmla="*/ 22 h 66"/>
                <a:gd name="T62" fmla="*/ 174 w 174"/>
                <a:gd name="T63" fmla="*/ 18 h 66"/>
                <a:gd name="T64" fmla="*/ 174 w 174"/>
                <a:gd name="T65" fmla="*/ 9 h 66"/>
                <a:gd name="T66" fmla="*/ 172 w 174"/>
                <a:gd name="T67" fmla="*/ 5 h 66"/>
                <a:gd name="T68" fmla="*/ 71 w 174"/>
                <a:gd name="T69" fmla="*/ 41 h 66"/>
                <a:gd name="T70" fmla="*/ 42 w 174"/>
                <a:gd name="T71" fmla="*/ 61 h 66"/>
                <a:gd name="T72" fmla="*/ 21 w 174"/>
                <a:gd name="T73" fmla="*/ 52 h 66"/>
                <a:gd name="T74" fmla="*/ 14 w 174"/>
                <a:gd name="T75" fmla="*/ 27 h 66"/>
                <a:gd name="T76" fmla="*/ 42 w 174"/>
                <a:gd name="T77" fmla="*/ 6 h 66"/>
                <a:gd name="T78" fmla="*/ 71 w 174"/>
                <a:gd name="T79" fmla="*/ 41 h 66"/>
                <a:gd name="T80" fmla="*/ 153 w 174"/>
                <a:gd name="T81" fmla="*/ 52 h 66"/>
                <a:gd name="T82" fmla="*/ 132 w 174"/>
                <a:gd name="T83" fmla="*/ 61 h 66"/>
                <a:gd name="T84" fmla="*/ 103 w 174"/>
                <a:gd name="T85" fmla="*/ 41 h 66"/>
                <a:gd name="T86" fmla="*/ 132 w 174"/>
                <a:gd name="T87" fmla="*/ 6 h 66"/>
                <a:gd name="T88" fmla="*/ 160 w 174"/>
                <a:gd name="T89" fmla="*/ 27 h 66"/>
                <a:gd name="T90" fmla="*/ 153 w 174"/>
                <a:gd name="T91" fmla="*/ 5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4" h="66">
                  <a:moveTo>
                    <a:pt x="172" y="5"/>
                  </a:moveTo>
                  <a:cubicBezTo>
                    <a:pt x="172" y="5"/>
                    <a:pt x="168" y="4"/>
                    <a:pt x="162" y="3"/>
                  </a:cubicBezTo>
                  <a:cubicBezTo>
                    <a:pt x="155" y="2"/>
                    <a:pt x="146" y="0"/>
                    <a:pt x="137" y="0"/>
                  </a:cubicBezTo>
                  <a:cubicBezTo>
                    <a:pt x="120" y="0"/>
                    <a:pt x="96" y="7"/>
                    <a:pt x="96" y="7"/>
                  </a:cubicBezTo>
                  <a:cubicBezTo>
                    <a:pt x="87" y="7"/>
                    <a:pt x="87" y="7"/>
                    <a:pt x="87" y="7"/>
                  </a:cubicBezTo>
                  <a:cubicBezTo>
                    <a:pt x="78" y="7"/>
                    <a:pt x="78" y="7"/>
                    <a:pt x="78" y="7"/>
                  </a:cubicBezTo>
                  <a:cubicBezTo>
                    <a:pt x="78" y="7"/>
                    <a:pt x="54" y="0"/>
                    <a:pt x="38" y="0"/>
                  </a:cubicBezTo>
                  <a:cubicBezTo>
                    <a:pt x="27" y="0"/>
                    <a:pt x="16" y="2"/>
                    <a:pt x="9" y="4"/>
                  </a:cubicBezTo>
                  <a:cubicBezTo>
                    <a:pt x="6" y="4"/>
                    <a:pt x="3" y="5"/>
                    <a:pt x="3" y="5"/>
                  </a:cubicBezTo>
                  <a:cubicBezTo>
                    <a:pt x="3" y="5"/>
                    <a:pt x="2" y="5"/>
                    <a:pt x="2" y="5"/>
                  </a:cubicBezTo>
                  <a:cubicBezTo>
                    <a:pt x="2" y="5"/>
                    <a:pt x="0" y="6"/>
                    <a:pt x="0" y="9"/>
                  </a:cubicBezTo>
                  <a:cubicBezTo>
                    <a:pt x="0" y="18"/>
                    <a:pt x="0" y="18"/>
                    <a:pt x="0" y="18"/>
                  </a:cubicBezTo>
                  <a:cubicBezTo>
                    <a:pt x="0" y="20"/>
                    <a:pt x="3" y="19"/>
                    <a:pt x="5" y="22"/>
                  </a:cubicBezTo>
                  <a:cubicBezTo>
                    <a:pt x="6" y="23"/>
                    <a:pt x="6" y="27"/>
                    <a:pt x="7" y="32"/>
                  </a:cubicBezTo>
                  <a:cubicBezTo>
                    <a:pt x="8" y="37"/>
                    <a:pt x="9" y="42"/>
                    <a:pt x="10" y="47"/>
                  </a:cubicBezTo>
                  <a:cubicBezTo>
                    <a:pt x="10" y="51"/>
                    <a:pt x="12" y="55"/>
                    <a:pt x="15" y="58"/>
                  </a:cubicBezTo>
                  <a:cubicBezTo>
                    <a:pt x="15" y="58"/>
                    <a:pt x="15" y="58"/>
                    <a:pt x="15" y="58"/>
                  </a:cubicBezTo>
                  <a:cubicBezTo>
                    <a:pt x="18" y="60"/>
                    <a:pt x="20" y="62"/>
                    <a:pt x="24" y="63"/>
                  </a:cubicBezTo>
                  <a:cubicBezTo>
                    <a:pt x="28" y="65"/>
                    <a:pt x="32" y="66"/>
                    <a:pt x="38" y="66"/>
                  </a:cubicBezTo>
                  <a:cubicBezTo>
                    <a:pt x="55" y="66"/>
                    <a:pt x="63" y="62"/>
                    <a:pt x="71" y="49"/>
                  </a:cubicBezTo>
                  <a:cubicBezTo>
                    <a:pt x="73" y="44"/>
                    <a:pt x="75" y="39"/>
                    <a:pt x="77" y="35"/>
                  </a:cubicBezTo>
                  <a:cubicBezTo>
                    <a:pt x="78" y="32"/>
                    <a:pt x="80" y="29"/>
                    <a:pt x="81" y="26"/>
                  </a:cubicBezTo>
                  <a:cubicBezTo>
                    <a:pt x="83" y="23"/>
                    <a:pt x="84" y="22"/>
                    <a:pt x="87" y="22"/>
                  </a:cubicBezTo>
                  <a:cubicBezTo>
                    <a:pt x="95" y="22"/>
                    <a:pt x="96" y="36"/>
                    <a:pt x="104" y="49"/>
                  </a:cubicBezTo>
                  <a:cubicBezTo>
                    <a:pt x="111" y="62"/>
                    <a:pt x="120" y="66"/>
                    <a:pt x="136" y="66"/>
                  </a:cubicBezTo>
                  <a:cubicBezTo>
                    <a:pt x="147" y="66"/>
                    <a:pt x="154" y="62"/>
                    <a:pt x="159" y="58"/>
                  </a:cubicBezTo>
                  <a:cubicBezTo>
                    <a:pt x="159" y="58"/>
                    <a:pt x="159" y="58"/>
                    <a:pt x="159" y="58"/>
                  </a:cubicBezTo>
                  <a:cubicBezTo>
                    <a:pt x="159" y="58"/>
                    <a:pt x="159" y="58"/>
                    <a:pt x="159" y="58"/>
                  </a:cubicBezTo>
                  <a:cubicBezTo>
                    <a:pt x="162" y="55"/>
                    <a:pt x="164" y="51"/>
                    <a:pt x="165" y="47"/>
                  </a:cubicBezTo>
                  <a:cubicBezTo>
                    <a:pt x="165" y="46"/>
                    <a:pt x="165" y="46"/>
                    <a:pt x="165" y="45"/>
                  </a:cubicBezTo>
                  <a:cubicBezTo>
                    <a:pt x="166" y="36"/>
                    <a:pt x="168" y="24"/>
                    <a:pt x="169" y="22"/>
                  </a:cubicBezTo>
                  <a:cubicBezTo>
                    <a:pt x="171" y="19"/>
                    <a:pt x="174" y="20"/>
                    <a:pt x="174" y="18"/>
                  </a:cubicBezTo>
                  <a:cubicBezTo>
                    <a:pt x="174" y="9"/>
                    <a:pt x="174" y="9"/>
                    <a:pt x="174" y="9"/>
                  </a:cubicBezTo>
                  <a:cubicBezTo>
                    <a:pt x="174" y="6"/>
                    <a:pt x="172" y="5"/>
                    <a:pt x="172" y="5"/>
                  </a:cubicBezTo>
                  <a:close/>
                  <a:moveTo>
                    <a:pt x="71" y="41"/>
                  </a:moveTo>
                  <a:cubicBezTo>
                    <a:pt x="65" y="54"/>
                    <a:pt x="58" y="61"/>
                    <a:pt x="42" y="61"/>
                  </a:cubicBezTo>
                  <a:cubicBezTo>
                    <a:pt x="35" y="61"/>
                    <a:pt x="26" y="59"/>
                    <a:pt x="21" y="52"/>
                  </a:cubicBezTo>
                  <a:cubicBezTo>
                    <a:pt x="15" y="46"/>
                    <a:pt x="14" y="35"/>
                    <a:pt x="14" y="27"/>
                  </a:cubicBezTo>
                  <a:cubicBezTo>
                    <a:pt x="14" y="10"/>
                    <a:pt x="23" y="6"/>
                    <a:pt x="42" y="6"/>
                  </a:cubicBezTo>
                  <a:cubicBezTo>
                    <a:pt x="58" y="6"/>
                    <a:pt x="87" y="10"/>
                    <a:pt x="71" y="41"/>
                  </a:cubicBezTo>
                  <a:close/>
                  <a:moveTo>
                    <a:pt x="153" y="52"/>
                  </a:moveTo>
                  <a:cubicBezTo>
                    <a:pt x="149" y="59"/>
                    <a:pt x="140" y="61"/>
                    <a:pt x="132" y="61"/>
                  </a:cubicBezTo>
                  <a:cubicBezTo>
                    <a:pt x="116" y="61"/>
                    <a:pt x="109" y="54"/>
                    <a:pt x="103" y="41"/>
                  </a:cubicBezTo>
                  <a:cubicBezTo>
                    <a:pt x="87" y="10"/>
                    <a:pt x="116" y="6"/>
                    <a:pt x="132" y="6"/>
                  </a:cubicBezTo>
                  <a:cubicBezTo>
                    <a:pt x="151" y="6"/>
                    <a:pt x="160" y="10"/>
                    <a:pt x="160" y="27"/>
                  </a:cubicBezTo>
                  <a:cubicBezTo>
                    <a:pt x="160" y="35"/>
                    <a:pt x="159" y="46"/>
                    <a:pt x="153" y="52"/>
                  </a:cubicBez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24" name="Oval 66">
              <a:extLst>
                <a:ext uri="{FF2B5EF4-FFF2-40B4-BE49-F238E27FC236}">
                  <a16:creationId xmlns:a16="http://schemas.microsoft.com/office/drawing/2014/main" id="{03ECA795-36EE-4E1C-96F5-7A363D16998F}"/>
                </a:ext>
              </a:extLst>
            </p:cNvPr>
            <p:cNvSpPr>
              <a:spLocks noChangeArrowheads="1"/>
            </p:cNvSpPr>
            <p:nvPr/>
          </p:nvSpPr>
          <p:spPr bwMode="auto">
            <a:xfrm>
              <a:off x="4033300" y="1668405"/>
              <a:ext cx="1614" cy="2420"/>
            </a:xfrm>
            <a:prstGeom prst="ellipse">
              <a:avLst/>
            </a:prstGeom>
            <a:solidFill>
              <a:srgbClr val="B6B8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25" name="Oval 67">
              <a:extLst>
                <a:ext uri="{FF2B5EF4-FFF2-40B4-BE49-F238E27FC236}">
                  <a16:creationId xmlns:a16="http://schemas.microsoft.com/office/drawing/2014/main" id="{BA2AAA0C-2DE1-4C36-A083-92FC91714CE8}"/>
                </a:ext>
              </a:extLst>
            </p:cNvPr>
            <p:cNvSpPr>
              <a:spLocks noChangeArrowheads="1"/>
            </p:cNvSpPr>
            <p:nvPr/>
          </p:nvSpPr>
          <p:spPr bwMode="auto">
            <a:xfrm>
              <a:off x="4034914" y="1671632"/>
              <a:ext cx="1614" cy="2420"/>
            </a:xfrm>
            <a:prstGeom prst="ellipse">
              <a:avLst/>
            </a:prstGeom>
            <a:solidFill>
              <a:srgbClr val="B6B8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26" name="Oval 68">
              <a:extLst>
                <a:ext uri="{FF2B5EF4-FFF2-40B4-BE49-F238E27FC236}">
                  <a16:creationId xmlns:a16="http://schemas.microsoft.com/office/drawing/2014/main" id="{3A1CAAD3-E887-4FC6-83E5-AE424C1F5112}"/>
                </a:ext>
              </a:extLst>
            </p:cNvPr>
            <p:cNvSpPr>
              <a:spLocks noChangeArrowheads="1"/>
            </p:cNvSpPr>
            <p:nvPr/>
          </p:nvSpPr>
          <p:spPr bwMode="auto">
            <a:xfrm>
              <a:off x="4030880" y="1671632"/>
              <a:ext cx="3227" cy="2420"/>
            </a:xfrm>
            <a:prstGeom prst="ellipse">
              <a:avLst/>
            </a:prstGeom>
            <a:solidFill>
              <a:srgbClr val="B6B8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27" name="Oval 69">
              <a:extLst>
                <a:ext uri="{FF2B5EF4-FFF2-40B4-BE49-F238E27FC236}">
                  <a16:creationId xmlns:a16="http://schemas.microsoft.com/office/drawing/2014/main" id="{88BDF633-3A66-48C6-BDF3-172404790171}"/>
                </a:ext>
              </a:extLst>
            </p:cNvPr>
            <p:cNvSpPr>
              <a:spLocks noChangeArrowheads="1"/>
            </p:cNvSpPr>
            <p:nvPr/>
          </p:nvSpPr>
          <p:spPr bwMode="auto">
            <a:xfrm>
              <a:off x="4151094" y="1668405"/>
              <a:ext cx="2420" cy="2420"/>
            </a:xfrm>
            <a:prstGeom prst="ellipse">
              <a:avLst/>
            </a:prstGeom>
            <a:solidFill>
              <a:srgbClr val="B6B8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28" name="Oval 70">
              <a:extLst>
                <a:ext uri="{FF2B5EF4-FFF2-40B4-BE49-F238E27FC236}">
                  <a16:creationId xmlns:a16="http://schemas.microsoft.com/office/drawing/2014/main" id="{D9B4811C-2FB4-43CD-A74C-D1968E3DE19E}"/>
                </a:ext>
              </a:extLst>
            </p:cNvPr>
            <p:cNvSpPr>
              <a:spLocks noChangeArrowheads="1"/>
            </p:cNvSpPr>
            <p:nvPr/>
          </p:nvSpPr>
          <p:spPr bwMode="auto">
            <a:xfrm>
              <a:off x="4152708" y="1671632"/>
              <a:ext cx="1614" cy="2420"/>
            </a:xfrm>
            <a:prstGeom prst="ellipse">
              <a:avLst/>
            </a:prstGeom>
            <a:solidFill>
              <a:srgbClr val="B6B8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29" name="Oval 71">
              <a:extLst>
                <a:ext uri="{FF2B5EF4-FFF2-40B4-BE49-F238E27FC236}">
                  <a16:creationId xmlns:a16="http://schemas.microsoft.com/office/drawing/2014/main" id="{E28B5811-F3BE-4A23-8DBC-4768B73C9B99}"/>
                </a:ext>
              </a:extLst>
            </p:cNvPr>
            <p:cNvSpPr>
              <a:spLocks noChangeArrowheads="1"/>
            </p:cNvSpPr>
            <p:nvPr/>
          </p:nvSpPr>
          <p:spPr bwMode="auto">
            <a:xfrm>
              <a:off x="4148674" y="1671632"/>
              <a:ext cx="2420" cy="2420"/>
            </a:xfrm>
            <a:prstGeom prst="ellipse">
              <a:avLst/>
            </a:prstGeom>
            <a:solidFill>
              <a:srgbClr val="B6B8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grpSp>
      <p:cxnSp>
        <p:nvCxnSpPr>
          <p:cNvPr id="274" name="Straight Connector 273">
            <a:extLst>
              <a:ext uri="{FF2B5EF4-FFF2-40B4-BE49-F238E27FC236}">
                <a16:creationId xmlns:a16="http://schemas.microsoft.com/office/drawing/2014/main" id="{9FC0875D-7FC9-4D9D-9084-B949B261CA62}"/>
              </a:ext>
            </a:extLst>
          </p:cNvPr>
          <p:cNvCxnSpPr>
            <a:cxnSpLocks/>
            <a:stCxn id="32" idx="1"/>
          </p:cNvCxnSpPr>
          <p:nvPr/>
        </p:nvCxnSpPr>
        <p:spPr>
          <a:xfrm flipH="1" flipV="1">
            <a:off x="1261285" y="3547101"/>
            <a:ext cx="1208606" cy="9284"/>
          </a:xfrm>
          <a:prstGeom prst="line">
            <a:avLst/>
          </a:prstGeom>
          <a:ln w="28575">
            <a:solidFill>
              <a:srgbClr val="00B050"/>
            </a:solidFill>
            <a:headEnd type="none"/>
            <a:tailEnd type="triangle"/>
          </a:ln>
          <a:effectLst/>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58B6CBD7-6D18-4ECC-A20A-A20F89DD1DA6}"/>
              </a:ext>
            </a:extLst>
          </p:cNvPr>
          <p:cNvCxnSpPr>
            <a:cxnSpLocks/>
          </p:cNvCxnSpPr>
          <p:nvPr/>
        </p:nvCxnSpPr>
        <p:spPr>
          <a:xfrm flipH="1" flipV="1">
            <a:off x="1272184" y="4850542"/>
            <a:ext cx="1932131" cy="9289"/>
          </a:xfrm>
          <a:prstGeom prst="line">
            <a:avLst/>
          </a:prstGeom>
          <a:ln w="28575">
            <a:solidFill>
              <a:srgbClr val="00B050"/>
            </a:solidFill>
            <a:headEnd type="none"/>
            <a:tailEnd type="triangle"/>
          </a:ln>
          <a:effectLst/>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552839A3-291E-492C-8DBC-6FD68E0826E1}"/>
              </a:ext>
            </a:extLst>
          </p:cNvPr>
          <p:cNvCxnSpPr>
            <a:cxnSpLocks/>
            <a:stCxn id="60" idx="1"/>
          </p:cNvCxnSpPr>
          <p:nvPr/>
        </p:nvCxnSpPr>
        <p:spPr>
          <a:xfrm flipH="1" flipV="1">
            <a:off x="1209842" y="2055991"/>
            <a:ext cx="1981494" cy="506"/>
          </a:xfrm>
          <a:prstGeom prst="line">
            <a:avLst/>
          </a:prstGeom>
          <a:ln w="28575">
            <a:solidFill>
              <a:srgbClr val="00B050"/>
            </a:solidFill>
            <a:headEnd type="none"/>
            <a:tailEnd type="triangle"/>
          </a:ln>
          <a:effectLst/>
        </p:spPr>
        <p:style>
          <a:lnRef idx="1">
            <a:schemeClr val="accent1"/>
          </a:lnRef>
          <a:fillRef idx="0">
            <a:schemeClr val="accent1"/>
          </a:fillRef>
          <a:effectRef idx="0">
            <a:schemeClr val="accent1"/>
          </a:effectRef>
          <a:fontRef idx="minor">
            <a:schemeClr val="tx1"/>
          </a:fontRef>
        </p:style>
      </p:cxnSp>
      <p:grpSp>
        <p:nvGrpSpPr>
          <p:cNvPr id="192" name="Group 191">
            <a:extLst>
              <a:ext uri="{FF2B5EF4-FFF2-40B4-BE49-F238E27FC236}">
                <a16:creationId xmlns:a16="http://schemas.microsoft.com/office/drawing/2014/main" id="{4AB56E02-C077-4695-9DF7-ACD8247F8077}"/>
              </a:ext>
            </a:extLst>
          </p:cNvPr>
          <p:cNvGrpSpPr/>
          <p:nvPr/>
        </p:nvGrpSpPr>
        <p:grpSpPr>
          <a:xfrm>
            <a:off x="111667" y="1708203"/>
            <a:ext cx="1222017" cy="1122445"/>
            <a:chOff x="113037" y="1741708"/>
            <a:chExt cx="1246697" cy="1145115"/>
          </a:xfrm>
        </p:grpSpPr>
        <p:sp>
          <p:nvSpPr>
            <p:cNvPr id="258" name="Oval 257">
              <a:extLst>
                <a:ext uri="{FF2B5EF4-FFF2-40B4-BE49-F238E27FC236}">
                  <a16:creationId xmlns:a16="http://schemas.microsoft.com/office/drawing/2014/main" id="{0FE3750D-8A9E-47C0-93BB-ADF9D84A47AB}"/>
                </a:ext>
              </a:extLst>
            </p:cNvPr>
            <p:cNvSpPr/>
            <p:nvPr/>
          </p:nvSpPr>
          <p:spPr bwMode="auto">
            <a:xfrm>
              <a:off x="161153" y="1741708"/>
              <a:ext cx="1150466" cy="1145115"/>
            </a:xfrm>
            <a:prstGeom prst="ellipse">
              <a:avLst/>
            </a:prstGeom>
            <a:solidFill>
              <a:schemeClr val="bg1"/>
            </a:solid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a:solidFill>
                  <a:srgbClr val="0E58C4"/>
                </a:solidFill>
                <a:cs typeface="Segoe UI" pitchFamily="34" charset="0"/>
              </a:endParaRPr>
            </a:p>
          </p:txBody>
        </p:sp>
        <p:sp>
          <p:nvSpPr>
            <p:cNvPr id="259" name="TextBox 258">
              <a:extLst>
                <a:ext uri="{FF2B5EF4-FFF2-40B4-BE49-F238E27FC236}">
                  <a16:creationId xmlns:a16="http://schemas.microsoft.com/office/drawing/2014/main" id="{8747BB89-27AD-4E98-B988-E59165EE3FF0}"/>
                </a:ext>
              </a:extLst>
            </p:cNvPr>
            <p:cNvSpPr txBox="1"/>
            <p:nvPr/>
          </p:nvSpPr>
          <p:spPr>
            <a:xfrm>
              <a:off x="113037" y="1871854"/>
              <a:ext cx="1246697" cy="939059"/>
            </a:xfrm>
            <a:prstGeom prst="rect">
              <a:avLst/>
            </a:prstGeom>
            <a:noFill/>
            <a:ln>
              <a:noFill/>
            </a:ln>
          </p:spPr>
          <p:txBody>
            <a:bodyPr wrap="square" lIns="179259" tIns="143407" rIns="179259" bIns="143407" rtlCol="0">
              <a:spAutoFit/>
            </a:bodyPr>
            <a:lstStyle>
              <a:defPPr>
                <a:defRPr lang="en-US"/>
              </a:defPPr>
              <a:lvl1pPr algn="ctr">
                <a:lnSpc>
                  <a:spcPct val="90000"/>
                </a:lnSpc>
                <a:spcAft>
                  <a:spcPts val="600"/>
                </a:spcAft>
                <a:defRPr sz="2000" b="1">
                  <a:solidFill>
                    <a:srgbClr val="C00000"/>
                  </a:solidFill>
                </a:defRPr>
              </a:lvl1pPr>
            </a:lstStyle>
            <a:p>
              <a:pPr defTabSz="914192">
                <a:defRPr/>
              </a:pPr>
              <a:r>
                <a:rPr lang="en-US" sz="980">
                  <a:solidFill>
                    <a:srgbClr val="0E58C4"/>
                  </a:solidFill>
                </a:rPr>
                <a:t>Microsoft Global Network </a:t>
              </a:r>
            </a:p>
            <a:p>
              <a:pPr defTabSz="914192">
                <a:defRPr/>
              </a:pPr>
              <a:r>
                <a:rPr lang="en-US" sz="980">
                  <a:solidFill>
                    <a:srgbClr val="0E58C4"/>
                  </a:solidFill>
                </a:rPr>
                <a:t>Americas</a:t>
              </a:r>
            </a:p>
          </p:txBody>
        </p:sp>
      </p:grpSp>
      <p:grpSp>
        <p:nvGrpSpPr>
          <p:cNvPr id="199" name="Group 198">
            <a:extLst>
              <a:ext uri="{FF2B5EF4-FFF2-40B4-BE49-F238E27FC236}">
                <a16:creationId xmlns:a16="http://schemas.microsoft.com/office/drawing/2014/main" id="{B0668364-F17A-4E07-B6BD-6A2CE635AC9E}"/>
              </a:ext>
            </a:extLst>
          </p:cNvPr>
          <p:cNvGrpSpPr/>
          <p:nvPr/>
        </p:nvGrpSpPr>
        <p:grpSpPr>
          <a:xfrm>
            <a:off x="1350048" y="1808514"/>
            <a:ext cx="751447" cy="443978"/>
            <a:chOff x="1376431" y="1844044"/>
            <a:chExt cx="766624" cy="452945"/>
          </a:xfrm>
        </p:grpSpPr>
        <p:sp>
          <p:nvSpPr>
            <p:cNvPr id="261" name="Freeform 435">
              <a:extLst>
                <a:ext uri="{FF2B5EF4-FFF2-40B4-BE49-F238E27FC236}">
                  <a16:creationId xmlns:a16="http://schemas.microsoft.com/office/drawing/2014/main" id="{AFFE63AE-D4A7-4625-82AA-83FBDF2F5B2C}"/>
                </a:ext>
              </a:extLst>
            </p:cNvPr>
            <p:cNvSpPr>
              <a:spLocks/>
            </p:cNvSpPr>
            <p:nvPr/>
          </p:nvSpPr>
          <p:spPr bwMode="auto">
            <a:xfrm>
              <a:off x="1376431" y="1844044"/>
              <a:ext cx="766624" cy="323997"/>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chemeClr val="bg1"/>
            </a:solidFill>
            <a:ln w="9525">
              <a:solidFill>
                <a:srgbClr val="000000"/>
              </a:solidFill>
              <a:round/>
              <a:headEnd/>
              <a:tailEnd/>
            </a:ln>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281" name="TextBox 280">
              <a:extLst>
                <a:ext uri="{FF2B5EF4-FFF2-40B4-BE49-F238E27FC236}">
                  <a16:creationId xmlns:a16="http://schemas.microsoft.com/office/drawing/2014/main" id="{DCAA2D49-5A96-44CB-81F0-E80E19C58A8E}"/>
                </a:ext>
              </a:extLst>
            </p:cNvPr>
            <p:cNvSpPr txBox="1"/>
            <p:nvPr/>
          </p:nvSpPr>
          <p:spPr>
            <a:xfrm>
              <a:off x="1553488" y="1876874"/>
              <a:ext cx="541541" cy="420115"/>
            </a:xfrm>
            <a:prstGeom prst="rect">
              <a:avLst/>
            </a:prstGeom>
            <a:noFill/>
          </p:spPr>
          <p:txBody>
            <a:bodyPr wrap="square" lIns="179259" tIns="143407" rIns="179259" bIns="143407" rtlCol="0">
              <a:spAutoFit/>
            </a:bodyPr>
            <a:lstStyle/>
            <a:p>
              <a:pPr defTabSz="914192">
                <a:lnSpc>
                  <a:spcPct val="90000"/>
                </a:lnSpc>
                <a:spcAft>
                  <a:spcPts val="588"/>
                </a:spcAft>
                <a:defRPr/>
              </a:pPr>
              <a:r>
                <a:rPr lang="en-US" sz="882" b="1">
                  <a:gradFill>
                    <a:gsLst>
                      <a:gs pos="2917">
                        <a:srgbClr val="353535"/>
                      </a:gs>
                      <a:gs pos="30000">
                        <a:srgbClr val="353535"/>
                      </a:gs>
                    </a:gsLst>
                    <a:lin ang="5400000" scaled="0"/>
                  </a:gradFill>
                </a:rPr>
                <a:t>ISP</a:t>
              </a:r>
            </a:p>
          </p:txBody>
        </p:sp>
      </p:grpSp>
      <p:grpSp>
        <p:nvGrpSpPr>
          <p:cNvPr id="193" name="Group 192">
            <a:extLst>
              <a:ext uri="{FF2B5EF4-FFF2-40B4-BE49-F238E27FC236}">
                <a16:creationId xmlns:a16="http://schemas.microsoft.com/office/drawing/2014/main" id="{825CD268-B258-45DA-9AFA-C25F2EA38496}"/>
              </a:ext>
            </a:extLst>
          </p:cNvPr>
          <p:cNvGrpSpPr/>
          <p:nvPr/>
        </p:nvGrpSpPr>
        <p:grpSpPr>
          <a:xfrm>
            <a:off x="88243" y="3023510"/>
            <a:ext cx="1222017" cy="1122445"/>
            <a:chOff x="89140" y="3083579"/>
            <a:chExt cx="1246697" cy="1145115"/>
          </a:xfrm>
        </p:grpSpPr>
        <p:sp>
          <p:nvSpPr>
            <p:cNvPr id="255" name="Oval 254">
              <a:extLst>
                <a:ext uri="{FF2B5EF4-FFF2-40B4-BE49-F238E27FC236}">
                  <a16:creationId xmlns:a16="http://schemas.microsoft.com/office/drawing/2014/main" id="{BA6B6ADD-5EA1-452B-9586-B46D5F4AF907}"/>
                </a:ext>
              </a:extLst>
            </p:cNvPr>
            <p:cNvSpPr/>
            <p:nvPr/>
          </p:nvSpPr>
          <p:spPr bwMode="auto">
            <a:xfrm>
              <a:off x="137256" y="3083579"/>
              <a:ext cx="1150466" cy="1145115"/>
            </a:xfrm>
            <a:prstGeom prst="ellipse">
              <a:avLst/>
            </a:prstGeom>
            <a:solidFill>
              <a:schemeClr val="bg1"/>
            </a:solid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a:solidFill>
                  <a:srgbClr val="0E58C4"/>
                </a:solidFill>
                <a:cs typeface="Segoe UI" pitchFamily="34" charset="0"/>
              </a:endParaRPr>
            </a:p>
          </p:txBody>
        </p:sp>
        <p:sp>
          <p:nvSpPr>
            <p:cNvPr id="256" name="TextBox 255">
              <a:extLst>
                <a:ext uri="{FF2B5EF4-FFF2-40B4-BE49-F238E27FC236}">
                  <a16:creationId xmlns:a16="http://schemas.microsoft.com/office/drawing/2014/main" id="{B0A7A5EC-274C-4B22-ADFF-692DBB57A971}"/>
                </a:ext>
              </a:extLst>
            </p:cNvPr>
            <p:cNvSpPr txBox="1"/>
            <p:nvPr/>
          </p:nvSpPr>
          <p:spPr>
            <a:xfrm>
              <a:off x="89140" y="3213725"/>
              <a:ext cx="1246697" cy="939059"/>
            </a:xfrm>
            <a:prstGeom prst="rect">
              <a:avLst/>
            </a:prstGeom>
            <a:noFill/>
            <a:ln>
              <a:noFill/>
            </a:ln>
          </p:spPr>
          <p:txBody>
            <a:bodyPr wrap="square" lIns="179259" tIns="143407" rIns="179259" bIns="143407" rtlCol="0">
              <a:spAutoFit/>
            </a:bodyPr>
            <a:lstStyle>
              <a:defPPr>
                <a:defRPr lang="en-US"/>
              </a:defPPr>
              <a:lvl1pPr algn="ctr">
                <a:lnSpc>
                  <a:spcPct val="90000"/>
                </a:lnSpc>
                <a:spcAft>
                  <a:spcPts val="600"/>
                </a:spcAft>
                <a:defRPr sz="2000" b="1">
                  <a:solidFill>
                    <a:srgbClr val="C00000"/>
                  </a:solidFill>
                </a:defRPr>
              </a:lvl1pPr>
            </a:lstStyle>
            <a:p>
              <a:pPr defTabSz="914192">
                <a:defRPr/>
              </a:pPr>
              <a:r>
                <a:rPr lang="en-US" sz="980">
                  <a:solidFill>
                    <a:srgbClr val="0E58C4"/>
                  </a:solidFill>
                </a:rPr>
                <a:t>Microsoft Global Network </a:t>
              </a:r>
            </a:p>
            <a:p>
              <a:pPr defTabSz="914192">
                <a:defRPr/>
              </a:pPr>
              <a:r>
                <a:rPr lang="en-US" sz="980">
                  <a:solidFill>
                    <a:srgbClr val="0E58C4"/>
                  </a:solidFill>
                </a:rPr>
                <a:t>EMEA</a:t>
              </a:r>
            </a:p>
          </p:txBody>
        </p:sp>
      </p:grpSp>
      <p:grpSp>
        <p:nvGrpSpPr>
          <p:cNvPr id="194" name="Group 193">
            <a:extLst>
              <a:ext uri="{FF2B5EF4-FFF2-40B4-BE49-F238E27FC236}">
                <a16:creationId xmlns:a16="http://schemas.microsoft.com/office/drawing/2014/main" id="{6056E7BD-C0D4-41B9-9CA5-6B98F969113C}"/>
              </a:ext>
            </a:extLst>
          </p:cNvPr>
          <p:cNvGrpSpPr/>
          <p:nvPr/>
        </p:nvGrpSpPr>
        <p:grpSpPr>
          <a:xfrm>
            <a:off x="131737" y="4363042"/>
            <a:ext cx="1222017" cy="1122445"/>
            <a:chOff x="133513" y="4450166"/>
            <a:chExt cx="1246697" cy="1145115"/>
          </a:xfrm>
        </p:grpSpPr>
        <p:sp>
          <p:nvSpPr>
            <p:cNvPr id="252" name="Oval 251">
              <a:extLst>
                <a:ext uri="{FF2B5EF4-FFF2-40B4-BE49-F238E27FC236}">
                  <a16:creationId xmlns:a16="http://schemas.microsoft.com/office/drawing/2014/main" id="{D5165C04-A703-4189-B122-54B2B6717CD4}"/>
                </a:ext>
              </a:extLst>
            </p:cNvPr>
            <p:cNvSpPr/>
            <p:nvPr/>
          </p:nvSpPr>
          <p:spPr bwMode="auto">
            <a:xfrm>
              <a:off x="181629" y="4450166"/>
              <a:ext cx="1150466" cy="1145115"/>
            </a:xfrm>
            <a:prstGeom prst="ellipse">
              <a:avLst/>
            </a:prstGeom>
            <a:solidFill>
              <a:schemeClr val="bg1"/>
            </a:solid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a:solidFill>
                  <a:srgbClr val="0E58C4"/>
                </a:solidFill>
                <a:cs typeface="Segoe UI" pitchFamily="34" charset="0"/>
              </a:endParaRPr>
            </a:p>
          </p:txBody>
        </p:sp>
        <p:sp>
          <p:nvSpPr>
            <p:cNvPr id="253" name="TextBox 252">
              <a:extLst>
                <a:ext uri="{FF2B5EF4-FFF2-40B4-BE49-F238E27FC236}">
                  <a16:creationId xmlns:a16="http://schemas.microsoft.com/office/drawing/2014/main" id="{0C2DC15B-E8A6-44DD-A160-F865E89619A4}"/>
                </a:ext>
              </a:extLst>
            </p:cNvPr>
            <p:cNvSpPr txBox="1"/>
            <p:nvPr/>
          </p:nvSpPr>
          <p:spPr>
            <a:xfrm>
              <a:off x="133513" y="4580312"/>
              <a:ext cx="1246697" cy="939059"/>
            </a:xfrm>
            <a:prstGeom prst="rect">
              <a:avLst/>
            </a:prstGeom>
            <a:noFill/>
            <a:ln>
              <a:noFill/>
            </a:ln>
          </p:spPr>
          <p:txBody>
            <a:bodyPr wrap="square" lIns="179259" tIns="143407" rIns="179259" bIns="143407" rtlCol="0">
              <a:spAutoFit/>
            </a:bodyPr>
            <a:lstStyle>
              <a:defPPr>
                <a:defRPr lang="en-US"/>
              </a:defPPr>
              <a:lvl1pPr algn="ctr">
                <a:lnSpc>
                  <a:spcPct val="90000"/>
                </a:lnSpc>
                <a:spcAft>
                  <a:spcPts val="600"/>
                </a:spcAft>
                <a:defRPr sz="2000" b="1">
                  <a:solidFill>
                    <a:srgbClr val="C00000"/>
                  </a:solidFill>
                </a:defRPr>
              </a:lvl1pPr>
            </a:lstStyle>
            <a:p>
              <a:pPr defTabSz="914192">
                <a:defRPr/>
              </a:pPr>
              <a:r>
                <a:rPr lang="en-US" sz="980">
                  <a:solidFill>
                    <a:srgbClr val="0E58C4"/>
                  </a:solidFill>
                </a:rPr>
                <a:t>Microsoft Global Network </a:t>
              </a:r>
            </a:p>
            <a:p>
              <a:pPr defTabSz="914192">
                <a:defRPr/>
              </a:pPr>
              <a:r>
                <a:rPr lang="en-US" sz="980">
                  <a:solidFill>
                    <a:srgbClr val="0E58C4"/>
                  </a:solidFill>
                </a:rPr>
                <a:t>APAC</a:t>
              </a:r>
            </a:p>
          </p:txBody>
        </p:sp>
      </p:grpSp>
      <p:grpSp>
        <p:nvGrpSpPr>
          <p:cNvPr id="201" name="Group 200">
            <a:extLst>
              <a:ext uri="{FF2B5EF4-FFF2-40B4-BE49-F238E27FC236}">
                <a16:creationId xmlns:a16="http://schemas.microsoft.com/office/drawing/2014/main" id="{ADB15008-BE9F-4388-A6D1-4E860BF8BCDA}"/>
              </a:ext>
            </a:extLst>
          </p:cNvPr>
          <p:cNvGrpSpPr/>
          <p:nvPr/>
        </p:nvGrpSpPr>
        <p:grpSpPr>
          <a:xfrm>
            <a:off x="1390438" y="4581405"/>
            <a:ext cx="751447" cy="443978"/>
            <a:chOff x="1354165" y="4672938"/>
            <a:chExt cx="766624" cy="452945"/>
          </a:xfrm>
        </p:grpSpPr>
        <p:sp>
          <p:nvSpPr>
            <p:cNvPr id="287" name="Freeform 435">
              <a:extLst>
                <a:ext uri="{FF2B5EF4-FFF2-40B4-BE49-F238E27FC236}">
                  <a16:creationId xmlns:a16="http://schemas.microsoft.com/office/drawing/2014/main" id="{23F9DBA8-2EB1-4ECE-A7F0-4186F0153489}"/>
                </a:ext>
              </a:extLst>
            </p:cNvPr>
            <p:cNvSpPr>
              <a:spLocks/>
            </p:cNvSpPr>
            <p:nvPr/>
          </p:nvSpPr>
          <p:spPr bwMode="auto">
            <a:xfrm>
              <a:off x="1354165" y="4672938"/>
              <a:ext cx="766624" cy="323997"/>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chemeClr val="bg1"/>
            </a:solidFill>
            <a:ln w="9525">
              <a:solidFill>
                <a:srgbClr val="000000"/>
              </a:solidFill>
              <a:round/>
              <a:headEnd/>
              <a:tailEnd/>
            </a:ln>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288" name="TextBox 287">
              <a:extLst>
                <a:ext uri="{FF2B5EF4-FFF2-40B4-BE49-F238E27FC236}">
                  <a16:creationId xmlns:a16="http://schemas.microsoft.com/office/drawing/2014/main" id="{D723ED5C-15D6-4910-88F2-17251A87BC3C}"/>
                </a:ext>
              </a:extLst>
            </p:cNvPr>
            <p:cNvSpPr txBox="1"/>
            <p:nvPr/>
          </p:nvSpPr>
          <p:spPr>
            <a:xfrm>
              <a:off x="1561896" y="4705768"/>
              <a:ext cx="541541" cy="420115"/>
            </a:xfrm>
            <a:prstGeom prst="rect">
              <a:avLst/>
            </a:prstGeom>
            <a:noFill/>
          </p:spPr>
          <p:txBody>
            <a:bodyPr wrap="square" lIns="179259" tIns="143407" rIns="179259" bIns="143407" rtlCol="0">
              <a:spAutoFit/>
            </a:bodyPr>
            <a:lstStyle/>
            <a:p>
              <a:pPr defTabSz="914192">
                <a:lnSpc>
                  <a:spcPct val="90000"/>
                </a:lnSpc>
                <a:spcAft>
                  <a:spcPts val="588"/>
                </a:spcAft>
                <a:defRPr/>
              </a:pPr>
              <a:r>
                <a:rPr lang="en-US" sz="882" b="1">
                  <a:gradFill>
                    <a:gsLst>
                      <a:gs pos="2917">
                        <a:srgbClr val="353535"/>
                      </a:gs>
                      <a:gs pos="30000">
                        <a:srgbClr val="353535"/>
                      </a:gs>
                    </a:gsLst>
                    <a:lin ang="5400000" scaled="0"/>
                  </a:gradFill>
                </a:rPr>
                <a:t>ISP</a:t>
              </a:r>
            </a:p>
          </p:txBody>
        </p:sp>
      </p:grpSp>
      <p:sp>
        <p:nvSpPr>
          <p:cNvPr id="243" name="Oval 242">
            <a:extLst>
              <a:ext uri="{FF2B5EF4-FFF2-40B4-BE49-F238E27FC236}">
                <a16:creationId xmlns:a16="http://schemas.microsoft.com/office/drawing/2014/main" id="{19A1E580-A331-4FBA-A169-0AF6CE044996}"/>
              </a:ext>
            </a:extLst>
          </p:cNvPr>
          <p:cNvSpPr/>
          <p:nvPr/>
        </p:nvSpPr>
        <p:spPr bwMode="auto">
          <a:xfrm>
            <a:off x="6460050" y="1018898"/>
            <a:ext cx="1127690" cy="1122445"/>
          </a:xfrm>
          <a:prstGeom prst="ellipse">
            <a:avLst/>
          </a:prstGeom>
          <a:solidFill>
            <a:schemeClr val="bg1"/>
          </a:solid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a:solidFill>
                <a:srgbClr val="0E58C4"/>
              </a:solidFill>
              <a:cs typeface="Segoe UI" pitchFamily="34" charset="0"/>
            </a:endParaRPr>
          </a:p>
        </p:txBody>
      </p:sp>
      <p:sp>
        <p:nvSpPr>
          <p:cNvPr id="244" name="TextBox 243">
            <a:extLst>
              <a:ext uri="{FF2B5EF4-FFF2-40B4-BE49-F238E27FC236}">
                <a16:creationId xmlns:a16="http://schemas.microsoft.com/office/drawing/2014/main" id="{A2084016-F6E2-42B0-9A70-75121B0B9573}"/>
              </a:ext>
            </a:extLst>
          </p:cNvPr>
          <p:cNvSpPr txBox="1"/>
          <p:nvPr/>
        </p:nvSpPr>
        <p:spPr>
          <a:xfrm>
            <a:off x="6368312" y="1147020"/>
            <a:ext cx="1308668" cy="920469"/>
          </a:xfrm>
          <a:prstGeom prst="rect">
            <a:avLst/>
          </a:prstGeom>
          <a:noFill/>
          <a:ln>
            <a:noFill/>
          </a:ln>
        </p:spPr>
        <p:txBody>
          <a:bodyPr wrap="square" lIns="179259" tIns="143407" rIns="179259" bIns="143407" rtlCol="0">
            <a:spAutoFit/>
          </a:bodyPr>
          <a:lstStyle>
            <a:defPPr>
              <a:defRPr lang="en-US"/>
            </a:defPPr>
            <a:lvl1pPr algn="ctr">
              <a:lnSpc>
                <a:spcPct val="90000"/>
              </a:lnSpc>
              <a:spcAft>
                <a:spcPts val="600"/>
              </a:spcAft>
              <a:defRPr sz="2000" b="1">
                <a:solidFill>
                  <a:srgbClr val="C00000"/>
                </a:solidFill>
              </a:defRPr>
            </a:lvl1pPr>
          </a:lstStyle>
          <a:p>
            <a:pPr defTabSz="914192">
              <a:defRPr/>
            </a:pPr>
            <a:r>
              <a:rPr lang="en-US" sz="980">
                <a:solidFill>
                  <a:srgbClr val="0E58C4"/>
                </a:solidFill>
              </a:rPr>
              <a:t>Microsoft Global Network </a:t>
            </a:r>
          </a:p>
          <a:p>
            <a:pPr defTabSz="914192">
              <a:defRPr/>
            </a:pPr>
            <a:r>
              <a:rPr lang="en-US" sz="980">
                <a:solidFill>
                  <a:srgbClr val="0E58C4"/>
                </a:solidFill>
              </a:rPr>
              <a:t>Europe, Middle East and Africa</a:t>
            </a:r>
          </a:p>
        </p:txBody>
      </p:sp>
      <p:sp>
        <p:nvSpPr>
          <p:cNvPr id="290" name="Freeform 435">
            <a:extLst>
              <a:ext uri="{FF2B5EF4-FFF2-40B4-BE49-F238E27FC236}">
                <a16:creationId xmlns:a16="http://schemas.microsoft.com/office/drawing/2014/main" id="{595A192E-7516-4775-909D-CA78643AC389}"/>
              </a:ext>
            </a:extLst>
          </p:cNvPr>
          <p:cNvSpPr>
            <a:spLocks/>
          </p:cNvSpPr>
          <p:nvPr/>
        </p:nvSpPr>
        <p:spPr bwMode="auto">
          <a:xfrm>
            <a:off x="6509126" y="2699831"/>
            <a:ext cx="774927" cy="332920"/>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chemeClr val="bg1"/>
          </a:solidFill>
          <a:ln w="9525">
            <a:solidFill>
              <a:srgbClr val="000000"/>
            </a:solidFill>
            <a:round/>
            <a:headEnd/>
            <a:tailEnd/>
          </a:ln>
        </p:spPr>
        <p:txBody>
          <a:bodyPr vert="horz" wrap="square" lIns="89630" tIns="44814" rIns="89630" bIns="44814" numCol="1" anchor="t" anchorCtr="0" compatLnSpc="1">
            <a:prstTxWarp prst="textNoShape">
              <a:avLst/>
            </a:prstTxWarp>
          </a:bodyPr>
          <a:lstStyle/>
          <a:p>
            <a:pPr defTabSz="914192">
              <a:defRPr/>
            </a:pPr>
            <a:endParaRPr lang="en-US" sz="1175">
              <a:solidFill>
                <a:srgbClr val="353535"/>
              </a:solidFill>
            </a:endParaRPr>
          </a:p>
        </p:txBody>
      </p:sp>
      <p:sp>
        <p:nvSpPr>
          <p:cNvPr id="291" name="TextBox 290">
            <a:extLst>
              <a:ext uri="{FF2B5EF4-FFF2-40B4-BE49-F238E27FC236}">
                <a16:creationId xmlns:a16="http://schemas.microsoft.com/office/drawing/2014/main" id="{0379C78F-A234-45F0-95F9-7BB52E4A29E1}"/>
              </a:ext>
            </a:extLst>
          </p:cNvPr>
          <p:cNvSpPr txBox="1"/>
          <p:nvPr/>
        </p:nvSpPr>
        <p:spPr>
          <a:xfrm>
            <a:off x="6704661" y="2723669"/>
            <a:ext cx="754974" cy="411798"/>
          </a:xfrm>
          <a:prstGeom prst="rect">
            <a:avLst/>
          </a:prstGeom>
          <a:noFill/>
        </p:spPr>
        <p:txBody>
          <a:bodyPr wrap="square" lIns="179259" tIns="143407" rIns="179259" bIns="143407" rtlCol="0">
            <a:spAutoFit/>
          </a:bodyPr>
          <a:lstStyle/>
          <a:p>
            <a:pPr defTabSz="914192">
              <a:lnSpc>
                <a:spcPct val="90000"/>
              </a:lnSpc>
              <a:spcAft>
                <a:spcPts val="588"/>
              </a:spcAft>
              <a:defRPr/>
            </a:pPr>
            <a:r>
              <a:rPr lang="en-US" sz="882" b="1">
                <a:gradFill>
                  <a:gsLst>
                    <a:gs pos="2917">
                      <a:srgbClr val="353535"/>
                    </a:gs>
                    <a:gs pos="30000">
                      <a:srgbClr val="353535"/>
                    </a:gs>
                  </a:gsLst>
                  <a:lin ang="5400000" scaled="0"/>
                </a:gradFill>
              </a:rPr>
              <a:t>ISP</a:t>
            </a:r>
          </a:p>
        </p:txBody>
      </p:sp>
      <p:grpSp>
        <p:nvGrpSpPr>
          <p:cNvPr id="197" name="Group 196">
            <a:extLst>
              <a:ext uri="{FF2B5EF4-FFF2-40B4-BE49-F238E27FC236}">
                <a16:creationId xmlns:a16="http://schemas.microsoft.com/office/drawing/2014/main" id="{C05C3A61-E134-4219-8F59-AD92B062E7DF}"/>
              </a:ext>
            </a:extLst>
          </p:cNvPr>
          <p:cNvGrpSpPr/>
          <p:nvPr/>
        </p:nvGrpSpPr>
        <p:grpSpPr>
          <a:xfrm>
            <a:off x="6079493" y="5409640"/>
            <a:ext cx="1222017" cy="1122445"/>
            <a:chOff x="5943489" y="5517902"/>
            <a:chExt cx="1246697" cy="1145115"/>
          </a:xfrm>
        </p:grpSpPr>
        <p:sp>
          <p:nvSpPr>
            <p:cNvPr id="249" name="Oval 248">
              <a:extLst>
                <a:ext uri="{FF2B5EF4-FFF2-40B4-BE49-F238E27FC236}">
                  <a16:creationId xmlns:a16="http://schemas.microsoft.com/office/drawing/2014/main" id="{628D4E7C-32BE-4C32-AC3E-2AC8B0F90A19}"/>
                </a:ext>
              </a:extLst>
            </p:cNvPr>
            <p:cNvSpPr/>
            <p:nvPr/>
          </p:nvSpPr>
          <p:spPr bwMode="auto">
            <a:xfrm>
              <a:off x="5979553" y="5517902"/>
              <a:ext cx="1150466" cy="1145115"/>
            </a:xfrm>
            <a:prstGeom prst="ellipse">
              <a:avLst/>
            </a:prstGeom>
            <a:solidFill>
              <a:schemeClr val="bg1"/>
            </a:solid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961">
                <a:solidFill>
                  <a:srgbClr val="0E58C4"/>
                </a:solidFill>
                <a:cs typeface="Segoe UI" pitchFamily="34" charset="0"/>
              </a:endParaRPr>
            </a:p>
          </p:txBody>
        </p:sp>
        <p:sp>
          <p:nvSpPr>
            <p:cNvPr id="250" name="TextBox 249">
              <a:extLst>
                <a:ext uri="{FF2B5EF4-FFF2-40B4-BE49-F238E27FC236}">
                  <a16:creationId xmlns:a16="http://schemas.microsoft.com/office/drawing/2014/main" id="{97877400-1661-41C2-A855-41A1368FD685}"/>
                </a:ext>
              </a:extLst>
            </p:cNvPr>
            <p:cNvSpPr txBox="1"/>
            <p:nvPr/>
          </p:nvSpPr>
          <p:spPr>
            <a:xfrm>
              <a:off x="5943489" y="5658967"/>
              <a:ext cx="1246697" cy="939059"/>
            </a:xfrm>
            <a:prstGeom prst="rect">
              <a:avLst/>
            </a:prstGeom>
            <a:noFill/>
            <a:ln>
              <a:noFill/>
            </a:ln>
          </p:spPr>
          <p:txBody>
            <a:bodyPr wrap="square" lIns="179259" tIns="143407" rIns="179259" bIns="143407" rtlCol="0">
              <a:spAutoFit/>
            </a:bodyPr>
            <a:lstStyle>
              <a:defPPr>
                <a:defRPr lang="en-US"/>
              </a:defPPr>
              <a:lvl1pPr algn="ctr">
                <a:lnSpc>
                  <a:spcPct val="90000"/>
                </a:lnSpc>
                <a:spcAft>
                  <a:spcPts val="600"/>
                </a:spcAft>
                <a:defRPr sz="2000" b="1">
                  <a:solidFill>
                    <a:srgbClr val="C00000"/>
                  </a:solidFill>
                </a:defRPr>
              </a:lvl1pPr>
            </a:lstStyle>
            <a:p>
              <a:pPr defTabSz="914192">
                <a:defRPr/>
              </a:pPr>
              <a:r>
                <a:rPr lang="en-US" sz="980">
                  <a:solidFill>
                    <a:srgbClr val="0E58C4"/>
                  </a:solidFill>
                </a:rPr>
                <a:t>Microsoft Global Network </a:t>
              </a:r>
            </a:p>
            <a:p>
              <a:pPr defTabSz="914192">
                <a:defRPr/>
              </a:pPr>
              <a:r>
                <a:rPr lang="en-US" sz="980">
                  <a:solidFill>
                    <a:srgbClr val="0E58C4"/>
                  </a:solidFill>
                </a:rPr>
                <a:t>Asia/Pacific</a:t>
              </a:r>
            </a:p>
          </p:txBody>
        </p:sp>
      </p:grpSp>
      <p:grpSp>
        <p:nvGrpSpPr>
          <p:cNvPr id="196" name="Group 195">
            <a:extLst>
              <a:ext uri="{FF2B5EF4-FFF2-40B4-BE49-F238E27FC236}">
                <a16:creationId xmlns:a16="http://schemas.microsoft.com/office/drawing/2014/main" id="{6B5F5F86-B2E7-4E53-995A-554034E53A61}"/>
              </a:ext>
            </a:extLst>
          </p:cNvPr>
          <p:cNvGrpSpPr/>
          <p:nvPr/>
        </p:nvGrpSpPr>
        <p:grpSpPr>
          <a:xfrm>
            <a:off x="7156257" y="5040732"/>
            <a:ext cx="751447" cy="443978"/>
            <a:chOff x="7042001" y="5141543"/>
            <a:chExt cx="766624" cy="452945"/>
          </a:xfrm>
        </p:grpSpPr>
        <p:sp>
          <p:nvSpPr>
            <p:cNvPr id="293" name="Freeform 435">
              <a:extLst>
                <a:ext uri="{FF2B5EF4-FFF2-40B4-BE49-F238E27FC236}">
                  <a16:creationId xmlns:a16="http://schemas.microsoft.com/office/drawing/2014/main" id="{BADD7224-287B-4983-A553-44C71D11B734}"/>
                </a:ext>
              </a:extLst>
            </p:cNvPr>
            <p:cNvSpPr>
              <a:spLocks/>
            </p:cNvSpPr>
            <p:nvPr/>
          </p:nvSpPr>
          <p:spPr bwMode="auto">
            <a:xfrm>
              <a:off x="7042001" y="5141543"/>
              <a:ext cx="766624" cy="323997"/>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chemeClr val="bg1"/>
            </a:solidFill>
            <a:ln w="9525">
              <a:solidFill>
                <a:srgbClr val="000000"/>
              </a:solidFill>
              <a:round/>
              <a:headEnd/>
              <a:tailEnd/>
            </a:ln>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294" name="TextBox 293">
              <a:extLst>
                <a:ext uri="{FF2B5EF4-FFF2-40B4-BE49-F238E27FC236}">
                  <a16:creationId xmlns:a16="http://schemas.microsoft.com/office/drawing/2014/main" id="{0E44E23F-29B3-4E01-BD58-1C270F8C62FA}"/>
                </a:ext>
              </a:extLst>
            </p:cNvPr>
            <p:cNvSpPr txBox="1"/>
            <p:nvPr/>
          </p:nvSpPr>
          <p:spPr>
            <a:xfrm>
              <a:off x="7219058" y="5174373"/>
              <a:ext cx="541541" cy="420115"/>
            </a:xfrm>
            <a:prstGeom prst="rect">
              <a:avLst/>
            </a:prstGeom>
            <a:noFill/>
          </p:spPr>
          <p:txBody>
            <a:bodyPr wrap="square" lIns="179259" tIns="143407" rIns="179259" bIns="143407" rtlCol="0">
              <a:spAutoFit/>
            </a:bodyPr>
            <a:lstStyle/>
            <a:p>
              <a:pPr defTabSz="914192">
                <a:lnSpc>
                  <a:spcPct val="90000"/>
                </a:lnSpc>
                <a:spcAft>
                  <a:spcPts val="588"/>
                </a:spcAft>
                <a:defRPr/>
              </a:pPr>
              <a:r>
                <a:rPr lang="en-US" sz="882" b="1">
                  <a:gradFill>
                    <a:gsLst>
                      <a:gs pos="2917">
                        <a:srgbClr val="353535"/>
                      </a:gs>
                      <a:gs pos="30000">
                        <a:srgbClr val="353535"/>
                      </a:gs>
                    </a:gsLst>
                    <a:lin ang="5400000" scaled="0"/>
                  </a:gradFill>
                </a:rPr>
                <a:t>ISP</a:t>
              </a:r>
            </a:p>
          </p:txBody>
        </p:sp>
      </p:grpSp>
      <p:grpSp>
        <p:nvGrpSpPr>
          <p:cNvPr id="6" name="Group 5">
            <a:extLst>
              <a:ext uri="{FF2B5EF4-FFF2-40B4-BE49-F238E27FC236}">
                <a16:creationId xmlns:a16="http://schemas.microsoft.com/office/drawing/2014/main" id="{C685F961-7A2A-4ABC-833D-FDE3C330A8CE}"/>
              </a:ext>
            </a:extLst>
          </p:cNvPr>
          <p:cNvGrpSpPr/>
          <p:nvPr/>
        </p:nvGrpSpPr>
        <p:grpSpPr>
          <a:xfrm>
            <a:off x="4381250" y="2414793"/>
            <a:ext cx="1537566" cy="2118357"/>
            <a:chOff x="4468854" y="2462571"/>
            <a:chExt cx="1568620" cy="2161140"/>
          </a:xfrm>
        </p:grpSpPr>
        <p:sp>
          <p:nvSpPr>
            <p:cNvPr id="136" name="TextBox 135">
              <a:extLst>
                <a:ext uri="{FF2B5EF4-FFF2-40B4-BE49-F238E27FC236}">
                  <a16:creationId xmlns:a16="http://schemas.microsoft.com/office/drawing/2014/main" id="{D6074139-B499-41FE-84E3-8A16B3DB4EF3}"/>
                </a:ext>
              </a:extLst>
            </p:cNvPr>
            <p:cNvSpPr txBox="1"/>
            <p:nvPr/>
          </p:nvSpPr>
          <p:spPr>
            <a:xfrm>
              <a:off x="4468854" y="4182821"/>
              <a:ext cx="1568620" cy="440890"/>
            </a:xfrm>
            <a:prstGeom prst="rect">
              <a:avLst/>
            </a:prstGeom>
            <a:noFill/>
          </p:spPr>
          <p:txBody>
            <a:bodyPr wrap="square" lIns="179259" tIns="143407" rIns="179259" bIns="143407" rtlCol="0">
              <a:spAutoFit/>
            </a:bodyPr>
            <a:lstStyle/>
            <a:p>
              <a:pPr algn="ctr" defTabSz="914192">
                <a:lnSpc>
                  <a:spcPct val="90000"/>
                </a:lnSpc>
                <a:spcAft>
                  <a:spcPts val="588"/>
                </a:spcAft>
                <a:defRPr/>
              </a:pPr>
              <a:r>
                <a:rPr lang="en-US" sz="1028">
                  <a:gradFill>
                    <a:gsLst>
                      <a:gs pos="2917">
                        <a:srgbClr val="353535"/>
                      </a:gs>
                      <a:gs pos="30000">
                        <a:srgbClr val="353535"/>
                      </a:gs>
                    </a:gsLst>
                    <a:lin ang="5400000" scaled="0"/>
                  </a:gradFill>
                </a:rPr>
                <a:t>London Head Office</a:t>
              </a:r>
            </a:p>
          </p:txBody>
        </p:sp>
        <p:pic>
          <p:nvPicPr>
            <p:cNvPr id="147" name="Picture 146">
              <a:extLst>
                <a:ext uri="{FF2B5EF4-FFF2-40B4-BE49-F238E27FC236}">
                  <a16:creationId xmlns:a16="http://schemas.microsoft.com/office/drawing/2014/main" id="{984C655B-621E-4418-BD23-0A9AF75B8759}"/>
                </a:ext>
              </a:extLst>
            </p:cNvPr>
            <p:cNvPicPr>
              <a:picLocks noChangeAspect="1"/>
            </p:cNvPicPr>
            <p:nvPr/>
          </p:nvPicPr>
          <p:blipFill>
            <a:blip r:embed="rId10"/>
            <a:stretch>
              <a:fillRect/>
            </a:stretch>
          </p:blipFill>
          <p:spPr>
            <a:xfrm>
              <a:off x="4573761" y="2917226"/>
              <a:ext cx="1313464" cy="1326731"/>
            </a:xfrm>
            <a:prstGeom prst="rect">
              <a:avLst/>
            </a:prstGeom>
          </p:spPr>
        </p:pic>
        <p:sp>
          <p:nvSpPr>
            <p:cNvPr id="149" name="Rectangle 382">
              <a:extLst>
                <a:ext uri="{FF2B5EF4-FFF2-40B4-BE49-F238E27FC236}">
                  <a16:creationId xmlns:a16="http://schemas.microsoft.com/office/drawing/2014/main" id="{0F6E2AE6-1FF3-4C9A-A1B2-9AE40DC43B27}"/>
                </a:ext>
              </a:extLst>
            </p:cNvPr>
            <p:cNvSpPr>
              <a:spLocks noChangeArrowheads="1"/>
            </p:cNvSpPr>
            <p:nvPr/>
          </p:nvSpPr>
          <p:spPr bwMode="auto">
            <a:xfrm>
              <a:off x="5339238" y="3144384"/>
              <a:ext cx="399533" cy="317021"/>
            </a:xfrm>
            <a:prstGeom prst="rect">
              <a:avLst/>
            </a:prstGeom>
            <a:solidFill>
              <a:srgbClr val="401467"/>
            </a:solidFill>
            <a:ln>
              <a:noFill/>
            </a:ln>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50" name="Freeform 383">
              <a:extLst>
                <a:ext uri="{FF2B5EF4-FFF2-40B4-BE49-F238E27FC236}">
                  <a16:creationId xmlns:a16="http://schemas.microsoft.com/office/drawing/2014/main" id="{074885A0-7D93-499E-B549-78AFC5ED9778}"/>
                </a:ext>
              </a:extLst>
            </p:cNvPr>
            <p:cNvSpPr>
              <a:spLocks/>
            </p:cNvSpPr>
            <p:nvPr/>
          </p:nvSpPr>
          <p:spPr bwMode="auto">
            <a:xfrm>
              <a:off x="5567232" y="2566797"/>
              <a:ext cx="343078" cy="894608"/>
            </a:xfrm>
            <a:custGeom>
              <a:avLst/>
              <a:gdLst>
                <a:gd name="T0" fmla="*/ 0 w 158"/>
                <a:gd name="T1" fmla="*/ 0 h 412"/>
                <a:gd name="T2" fmla="*/ 158 w 158"/>
                <a:gd name="T3" fmla="*/ 0 h 412"/>
                <a:gd name="T4" fmla="*/ 158 w 158"/>
                <a:gd name="T5" fmla="*/ 412 h 412"/>
                <a:gd name="T6" fmla="*/ 0 w 158"/>
                <a:gd name="T7" fmla="*/ 412 h 412"/>
                <a:gd name="T8" fmla="*/ 0 w 158"/>
                <a:gd name="T9" fmla="*/ 268 h 412"/>
                <a:gd name="T10" fmla="*/ 0 w 158"/>
                <a:gd name="T11" fmla="*/ 0 h 412"/>
              </a:gdLst>
              <a:ahLst/>
              <a:cxnLst>
                <a:cxn ang="0">
                  <a:pos x="T0" y="T1"/>
                </a:cxn>
                <a:cxn ang="0">
                  <a:pos x="T2" y="T3"/>
                </a:cxn>
                <a:cxn ang="0">
                  <a:pos x="T4" y="T5"/>
                </a:cxn>
                <a:cxn ang="0">
                  <a:pos x="T6" y="T7"/>
                </a:cxn>
                <a:cxn ang="0">
                  <a:pos x="T8" y="T9"/>
                </a:cxn>
                <a:cxn ang="0">
                  <a:pos x="T10" y="T11"/>
                </a:cxn>
              </a:cxnLst>
              <a:rect l="0" t="0" r="r" b="b"/>
              <a:pathLst>
                <a:path w="158" h="412">
                  <a:moveTo>
                    <a:pt x="0" y="0"/>
                  </a:moveTo>
                  <a:lnTo>
                    <a:pt x="158" y="0"/>
                  </a:lnTo>
                  <a:lnTo>
                    <a:pt x="158" y="412"/>
                  </a:lnTo>
                  <a:lnTo>
                    <a:pt x="0" y="412"/>
                  </a:lnTo>
                  <a:lnTo>
                    <a:pt x="0" y="268"/>
                  </a:lnTo>
                  <a:lnTo>
                    <a:pt x="0" y="0"/>
                  </a:lnTo>
                  <a:close/>
                </a:path>
              </a:pathLst>
            </a:custGeom>
            <a:solidFill>
              <a:srgbClr val="401467"/>
            </a:solidFill>
            <a:ln>
              <a:noFill/>
            </a:ln>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51" name="Freeform 384">
              <a:extLst>
                <a:ext uri="{FF2B5EF4-FFF2-40B4-BE49-F238E27FC236}">
                  <a16:creationId xmlns:a16="http://schemas.microsoft.com/office/drawing/2014/main" id="{971DF1C9-5B6A-49D7-BDF3-5C55465545E5}"/>
                </a:ext>
              </a:extLst>
            </p:cNvPr>
            <p:cNvSpPr>
              <a:spLocks/>
            </p:cNvSpPr>
            <p:nvPr/>
          </p:nvSpPr>
          <p:spPr bwMode="auto">
            <a:xfrm>
              <a:off x="5339238" y="3148727"/>
              <a:ext cx="227996" cy="312678"/>
            </a:xfrm>
            <a:custGeom>
              <a:avLst/>
              <a:gdLst>
                <a:gd name="T0" fmla="*/ 0 w 105"/>
                <a:gd name="T1" fmla="*/ 144 h 144"/>
                <a:gd name="T2" fmla="*/ 105 w 105"/>
                <a:gd name="T3" fmla="*/ 144 h 144"/>
                <a:gd name="T4" fmla="*/ 105 w 105"/>
                <a:gd name="T5" fmla="*/ 0 h 144"/>
                <a:gd name="T6" fmla="*/ 0 w 105"/>
                <a:gd name="T7" fmla="*/ 144 h 144"/>
              </a:gdLst>
              <a:ahLst/>
              <a:cxnLst>
                <a:cxn ang="0">
                  <a:pos x="T0" y="T1"/>
                </a:cxn>
                <a:cxn ang="0">
                  <a:pos x="T2" y="T3"/>
                </a:cxn>
                <a:cxn ang="0">
                  <a:pos x="T4" y="T5"/>
                </a:cxn>
                <a:cxn ang="0">
                  <a:pos x="T6" y="T7"/>
                </a:cxn>
              </a:cxnLst>
              <a:rect l="0" t="0" r="r" b="b"/>
              <a:pathLst>
                <a:path w="105" h="144">
                  <a:moveTo>
                    <a:pt x="0" y="144"/>
                  </a:moveTo>
                  <a:lnTo>
                    <a:pt x="105" y="144"/>
                  </a:lnTo>
                  <a:lnTo>
                    <a:pt x="105" y="0"/>
                  </a:lnTo>
                  <a:lnTo>
                    <a:pt x="0" y="144"/>
                  </a:lnTo>
                  <a:close/>
                </a:path>
              </a:pathLst>
            </a:custGeom>
            <a:solidFill>
              <a:srgbClr val="401467"/>
            </a:solidFill>
            <a:ln>
              <a:noFill/>
            </a:ln>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52" name="Rectangle 385">
              <a:extLst>
                <a:ext uri="{FF2B5EF4-FFF2-40B4-BE49-F238E27FC236}">
                  <a16:creationId xmlns:a16="http://schemas.microsoft.com/office/drawing/2014/main" id="{919335C8-BDFE-423E-B9A6-45DDD86B79CE}"/>
                </a:ext>
              </a:extLst>
            </p:cNvPr>
            <p:cNvSpPr>
              <a:spLocks noChangeArrowheads="1"/>
            </p:cNvSpPr>
            <p:nvPr/>
          </p:nvSpPr>
          <p:spPr bwMode="auto">
            <a:xfrm>
              <a:off x="5686658" y="2631939"/>
              <a:ext cx="34742" cy="62971"/>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53" name="Rectangle 386">
              <a:extLst>
                <a:ext uri="{FF2B5EF4-FFF2-40B4-BE49-F238E27FC236}">
                  <a16:creationId xmlns:a16="http://schemas.microsoft.com/office/drawing/2014/main" id="{C483D90C-AD07-485A-AE7E-9D76B8B10F88}"/>
                </a:ext>
              </a:extLst>
            </p:cNvPr>
            <p:cNvSpPr>
              <a:spLocks noChangeArrowheads="1"/>
            </p:cNvSpPr>
            <p:nvPr/>
          </p:nvSpPr>
          <p:spPr bwMode="auto">
            <a:xfrm>
              <a:off x="5758314" y="2631939"/>
              <a:ext cx="32572" cy="62971"/>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54" name="Rectangle 387">
              <a:extLst>
                <a:ext uri="{FF2B5EF4-FFF2-40B4-BE49-F238E27FC236}">
                  <a16:creationId xmlns:a16="http://schemas.microsoft.com/office/drawing/2014/main" id="{5E019C94-46E5-4806-BDCD-EDA74F64E911}"/>
                </a:ext>
              </a:extLst>
            </p:cNvPr>
            <p:cNvSpPr>
              <a:spLocks noChangeArrowheads="1"/>
            </p:cNvSpPr>
            <p:nvPr/>
          </p:nvSpPr>
          <p:spPr bwMode="auto">
            <a:xfrm>
              <a:off x="5758314" y="2727479"/>
              <a:ext cx="32572" cy="6079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55" name="Rectangle 388">
              <a:extLst>
                <a:ext uri="{FF2B5EF4-FFF2-40B4-BE49-F238E27FC236}">
                  <a16:creationId xmlns:a16="http://schemas.microsoft.com/office/drawing/2014/main" id="{764B4630-70AF-4336-896E-130D039A7FA3}"/>
                </a:ext>
              </a:extLst>
            </p:cNvPr>
            <p:cNvSpPr>
              <a:spLocks noChangeArrowheads="1"/>
            </p:cNvSpPr>
            <p:nvPr/>
          </p:nvSpPr>
          <p:spPr bwMode="auto">
            <a:xfrm>
              <a:off x="5610660" y="2823020"/>
              <a:ext cx="39085" cy="6079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56" name="Rectangle 389">
              <a:extLst>
                <a:ext uri="{FF2B5EF4-FFF2-40B4-BE49-F238E27FC236}">
                  <a16:creationId xmlns:a16="http://schemas.microsoft.com/office/drawing/2014/main" id="{F69EC303-EB47-410E-8BBB-A8D1531BEAA5}"/>
                </a:ext>
              </a:extLst>
            </p:cNvPr>
            <p:cNvSpPr>
              <a:spLocks noChangeArrowheads="1"/>
            </p:cNvSpPr>
            <p:nvPr/>
          </p:nvSpPr>
          <p:spPr bwMode="auto">
            <a:xfrm>
              <a:off x="5686658" y="2916390"/>
              <a:ext cx="34742" cy="6731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57" name="Rectangle 390">
              <a:extLst>
                <a:ext uri="{FF2B5EF4-FFF2-40B4-BE49-F238E27FC236}">
                  <a16:creationId xmlns:a16="http://schemas.microsoft.com/office/drawing/2014/main" id="{3870D290-9596-4814-A514-FFCECF5A38FA}"/>
                </a:ext>
              </a:extLst>
            </p:cNvPr>
            <p:cNvSpPr>
              <a:spLocks noChangeArrowheads="1"/>
            </p:cNvSpPr>
            <p:nvPr/>
          </p:nvSpPr>
          <p:spPr bwMode="auto">
            <a:xfrm>
              <a:off x="5758314" y="2916390"/>
              <a:ext cx="32572" cy="6731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58" name="Rectangle 391">
              <a:extLst>
                <a:ext uri="{FF2B5EF4-FFF2-40B4-BE49-F238E27FC236}">
                  <a16:creationId xmlns:a16="http://schemas.microsoft.com/office/drawing/2014/main" id="{667BCF36-5987-4A9A-B28C-04FEC2805B91}"/>
                </a:ext>
              </a:extLst>
            </p:cNvPr>
            <p:cNvSpPr>
              <a:spLocks noChangeArrowheads="1"/>
            </p:cNvSpPr>
            <p:nvPr/>
          </p:nvSpPr>
          <p:spPr bwMode="auto">
            <a:xfrm>
              <a:off x="5758314" y="3011931"/>
              <a:ext cx="32572" cy="65142"/>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59" name="Rectangle 392">
              <a:extLst>
                <a:ext uri="{FF2B5EF4-FFF2-40B4-BE49-F238E27FC236}">
                  <a16:creationId xmlns:a16="http://schemas.microsoft.com/office/drawing/2014/main" id="{D7E6B84E-B17C-43A3-B2AE-D9673079A0B4}"/>
                </a:ext>
              </a:extLst>
            </p:cNvPr>
            <p:cNvSpPr>
              <a:spLocks noChangeArrowheads="1"/>
            </p:cNvSpPr>
            <p:nvPr/>
          </p:nvSpPr>
          <p:spPr bwMode="auto">
            <a:xfrm>
              <a:off x="5834313" y="3011931"/>
              <a:ext cx="32572" cy="65142"/>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60" name="Rectangle 393">
              <a:extLst>
                <a:ext uri="{FF2B5EF4-FFF2-40B4-BE49-F238E27FC236}">
                  <a16:creationId xmlns:a16="http://schemas.microsoft.com/office/drawing/2014/main" id="{187EE63C-29B9-496C-BE97-C6197C6B77DB}"/>
                </a:ext>
              </a:extLst>
            </p:cNvPr>
            <p:cNvSpPr>
              <a:spLocks noChangeArrowheads="1"/>
            </p:cNvSpPr>
            <p:nvPr/>
          </p:nvSpPr>
          <p:spPr bwMode="auto">
            <a:xfrm>
              <a:off x="5610660" y="3105299"/>
              <a:ext cx="39085" cy="6731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61" name="Rectangle 394">
              <a:extLst>
                <a:ext uri="{FF2B5EF4-FFF2-40B4-BE49-F238E27FC236}">
                  <a16:creationId xmlns:a16="http://schemas.microsoft.com/office/drawing/2014/main" id="{C27515EB-0B7D-4215-AD54-236B5AE91C61}"/>
                </a:ext>
              </a:extLst>
            </p:cNvPr>
            <p:cNvSpPr>
              <a:spLocks noChangeArrowheads="1"/>
            </p:cNvSpPr>
            <p:nvPr/>
          </p:nvSpPr>
          <p:spPr bwMode="auto">
            <a:xfrm>
              <a:off x="5686658" y="3105299"/>
              <a:ext cx="34742" cy="6731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62" name="Rectangle 395">
              <a:extLst>
                <a:ext uri="{FF2B5EF4-FFF2-40B4-BE49-F238E27FC236}">
                  <a16:creationId xmlns:a16="http://schemas.microsoft.com/office/drawing/2014/main" id="{CCF361C0-67C1-462A-B862-608AC11CCE62}"/>
                </a:ext>
              </a:extLst>
            </p:cNvPr>
            <p:cNvSpPr>
              <a:spLocks noChangeArrowheads="1"/>
            </p:cNvSpPr>
            <p:nvPr/>
          </p:nvSpPr>
          <p:spPr bwMode="auto">
            <a:xfrm>
              <a:off x="5610660" y="3205182"/>
              <a:ext cx="39085" cy="62971"/>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63" name="Rectangle 396">
              <a:extLst>
                <a:ext uri="{FF2B5EF4-FFF2-40B4-BE49-F238E27FC236}">
                  <a16:creationId xmlns:a16="http://schemas.microsoft.com/office/drawing/2014/main" id="{E17FD09E-143E-467F-A701-3966C12D3EB2}"/>
                </a:ext>
              </a:extLst>
            </p:cNvPr>
            <p:cNvSpPr>
              <a:spLocks noChangeArrowheads="1"/>
            </p:cNvSpPr>
            <p:nvPr/>
          </p:nvSpPr>
          <p:spPr bwMode="auto">
            <a:xfrm>
              <a:off x="5758314" y="3205182"/>
              <a:ext cx="32572" cy="62971"/>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64" name="Rectangle 397">
              <a:extLst>
                <a:ext uri="{FF2B5EF4-FFF2-40B4-BE49-F238E27FC236}">
                  <a16:creationId xmlns:a16="http://schemas.microsoft.com/office/drawing/2014/main" id="{D03704C7-9D6C-45A6-A4DF-01DC4AEEE583}"/>
                </a:ext>
              </a:extLst>
            </p:cNvPr>
            <p:cNvSpPr>
              <a:spLocks noChangeArrowheads="1"/>
            </p:cNvSpPr>
            <p:nvPr/>
          </p:nvSpPr>
          <p:spPr bwMode="auto">
            <a:xfrm>
              <a:off x="5363123" y="3205182"/>
              <a:ext cx="34742" cy="62971"/>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65" name="Rectangle 398">
              <a:extLst>
                <a:ext uri="{FF2B5EF4-FFF2-40B4-BE49-F238E27FC236}">
                  <a16:creationId xmlns:a16="http://schemas.microsoft.com/office/drawing/2014/main" id="{F40E425D-5F45-41A2-9125-17B1E09B159C}"/>
                </a:ext>
              </a:extLst>
            </p:cNvPr>
            <p:cNvSpPr>
              <a:spLocks noChangeArrowheads="1"/>
            </p:cNvSpPr>
            <p:nvPr/>
          </p:nvSpPr>
          <p:spPr bwMode="auto">
            <a:xfrm>
              <a:off x="5439122" y="3300724"/>
              <a:ext cx="34742" cy="6079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66" name="Rectangle 399">
              <a:extLst>
                <a:ext uri="{FF2B5EF4-FFF2-40B4-BE49-F238E27FC236}">
                  <a16:creationId xmlns:a16="http://schemas.microsoft.com/office/drawing/2014/main" id="{2A1DBA00-58CF-41CB-987C-51B9D2B4A803}"/>
                </a:ext>
              </a:extLst>
            </p:cNvPr>
            <p:cNvSpPr>
              <a:spLocks noChangeArrowheads="1"/>
            </p:cNvSpPr>
            <p:nvPr/>
          </p:nvSpPr>
          <p:spPr bwMode="auto">
            <a:xfrm>
              <a:off x="5686658" y="3300724"/>
              <a:ext cx="34742" cy="6079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67" name="Rectangle 400">
              <a:extLst>
                <a:ext uri="{FF2B5EF4-FFF2-40B4-BE49-F238E27FC236}">
                  <a16:creationId xmlns:a16="http://schemas.microsoft.com/office/drawing/2014/main" id="{B23CA0C4-F56C-49B2-98AF-84553B26205A}"/>
                </a:ext>
              </a:extLst>
            </p:cNvPr>
            <p:cNvSpPr>
              <a:spLocks noChangeArrowheads="1"/>
            </p:cNvSpPr>
            <p:nvPr/>
          </p:nvSpPr>
          <p:spPr bwMode="auto">
            <a:xfrm>
              <a:off x="5834313" y="3300724"/>
              <a:ext cx="32572" cy="6079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68" name="Rectangle 401">
              <a:extLst>
                <a:ext uri="{FF2B5EF4-FFF2-40B4-BE49-F238E27FC236}">
                  <a16:creationId xmlns:a16="http://schemas.microsoft.com/office/drawing/2014/main" id="{A04AA819-30E9-41BD-BE00-64D24A870A1F}"/>
                </a:ext>
              </a:extLst>
            </p:cNvPr>
            <p:cNvSpPr>
              <a:spLocks noChangeArrowheads="1"/>
            </p:cNvSpPr>
            <p:nvPr/>
          </p:nvSpPr>
          <p:spPr bwMode="auto">
            <a:xfrm>
              <a:off x="5758314" y="2503828"/>
              <a:ext cx="108569" cy="62971"/>
            </a:xfrm>
            <a:prstGeom prst="rect">
              <a:avLst/>
            </a:prstGeom>
            <a:solidFill>
              <a:srgbClr val="401467"/>
            </a:solidFill>
            <a:ln>
              <a:noFill/>
            </a:ln>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69" name="Rectangle 402">
              <a:extLst>
                <a:ext uri="{FF2B5EF4-FFF2-40B4-BE49-F238E27FC236}">
                  <a16:creationId xmlns:a16="http://schemas.microsoft.com/office/drawing/2014/main" id="{364962A1-B4BD-4C00-AFDC-0A189644FDC3}"/>
                </a:ext>
              </a:extLst>
            </p:cNvPr>
            <p:cNvSpPr>
              <a:spLocks noChangeArrowheads="1"/>
            </p:cNvSpPr>
            <p:nvPr/>
          </p:nvSpPr>
          <p:spPr bwMode="auto">
            <a:xfrm>
              <a:off x="5649745" y="2462571"/>
              <a:ext cx="17371" cy="104226"/>
            </a:xfrm>
            <a:prstGeom prst="rect">
              <a:avLst/>
            </a:prstGeom>
            <a:solidFill>
              <a:srgbClr val="401467"/>
            </a:solidFill>
            <a:ln>
              <a:noFill/>
            </a:ln>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70" name="Rectangle 403">
              <a:extLst>
                <a:ext uri="{FF2B5EF4-FFF2-40B4-BE49-F238E27FC236}">
                  <a16:creationId xmlns:a16="http://schemas.microsoft.com/office/drawing/2014/main" id="{4540AAB5-BE31-4F43-AD27-7E2517E092B0}"/>
                </a:ext>
              </a:extLst>
            </p:cNvPr>
            <p:cNvSpPr>
              <a:spLocks noChangeArrowheads="1"/>
            </p:cNvSpPr>
            <p:nvPr/>
          </p:nvSpPr>
          <p:spPr bwMode="auto">
            <a:xfrm>
              <a:off x="5610660" y="2631939"/>
              <a:ext cx="39085" cy="62971"/>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71" name="Rectangle 404">
              <a:extLst>
                <a:ext uri="{FF2B5EF4-FFF2-40B4-BE49-F238E27FC236}">
                  <a16:creationId xmlns:a16="http://schemas.microsoft.com/office/drawing/2014/main" id="{0044B978-AA5E-4911-A18B-1590A0C070FC}"/>
                </a:ext>
              </a:extLst>
            </p:cNvPr>
            <p:cNvSpPr>
              <a:spLocks noChangeArrowheads="1"/>
            </p:cNvSpPr>
            <p:nvPr/>
          </p:nvSpPr>
          <p:spPr bwMode="auto">
            <a:xfrm>
              <a:off x="5834313" y="2631939"/>
              <a:ext cx="32572" cy="62971"/>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72" name="Rectangle 405">
              <a:extLst>
                <a:ext uri="{FF2B5EF4-FFF2-40B4-BE49-F238E27FC236}">
                  <a16:creationId xmlns:a16="http://schemas.microsoft.com/office/drawing/2014/main" id="{C030F3D8-41CE-4525-B99D-4F6E84F3F5B1}"/>
                </a:ext>
              </a:extLst>
            </p:cNvPr>
            <p:cNvSpPr>
              <a:spLocks noChangeArrowheads="1"/>
            </p:cNvSpPr>
            <p:nvPr/>
          </p:nvSpPr>
          <p:spPr bwMode="auto">
            <a:xfrm>
              <a:off x="5610660" y="2727479"/>
              <a:ext cx="39085" cy="6079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73" name="Rectangle 407">
              <a:extLst>
                <a:ext uri="{FF2B5EF4-FFF2-40B4-BE49-F238E27FC236}">
                  <a16:creationId xmlns:a16="http://schemas.microsoft.com/office/drawing/2014/main" id="{17AB27B6-14F0-4BE0-8642-93446ACE7F53}"/>
                </a:ext>
              </a:extLst>
            </p:cNvPr>
            <p:cNvSpPr>
              <a:spLocks noChangeArrowheads="1"/>
            </p:cNvSpPr>
            <p:nvPr/>
          </p:nvSpPr>
          <p:spPr bwMode="auto">
            <a:xfrm>
              <a:off x="5686658" y="2727480"/>
              <a:ext cx="34742" cy="6079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74" name="Rectangle 408">
              <a:extLst>
                <a:ext uri="{FF2B5EF4-FFF2-40B4-BE49-F238E27FC236}">
                  <a16:creationId xmlns:a16="http://schemas.microsoft.com/office/drawing/2014/main" id="{83699CFD-7A3D-46B9-B8C2-713BB3956C3B}"/>
                </a:ext>
              </a:extLst>
            </p:cNvPr>
            <p:cNvSpPr>
              <a:spLocks noChangeArrowheads="1"/>
            </p:cNvSpPr>
            <p:nvPr/>
          </p:nvSpPr>
          <p:spPr bwMode="auto">
            <a:xfrm>
              <a:off x="5834313" y="2727480"/>
              <a:ext cx="32572" cy="6079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75" name="Rectangle 409">
              <a:extLst>
                <a:ext uri="{FF2B5EF4-FFF2-40B4-BE49-F238E27FC236}">
                  <a16:creationId xmlns:a16="http://schemas.microsoft.com/office/drawing/2014/main" id="{15C1240D-4ADB-4D6F-8573-81CC54CDE662}"/>
                </a:ext>
              </a:extLst>
            </p:cNvPr>
            <p:cNvSpPr>
              <a:spLocks noChangeArrowheads="1"/>
            </p:cNvSpPr>
            <p:nvPr/>
          </p:nvSpPr>
          <p:spPr bwMode="auto">
            <a:xfrm>
              <a:off x="5686658" y="2823021"/>
              <a:ext cx="34742" cy="6079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76" name="Rectangle 410">
              <a:extLst>
                <a:ext uri="{FF2B5EF4-FFF2-40B4-BE49-F238E27FC236}">
                  <a16:creationId xmlns:a16="http://schemas.microsoft.com/office/drawing/2014/main" id="{D08D1D79-8B99-4136-BEE5-D1DD58502A15}"/>
                </a:ext>
              </a:extLst>
            </p:cNvPr>
            <p:cNvSpPr>
              <a:spLocks noChangeArrowheads="1"/>
            </p:cNvSpPr>
            <p:nvPr/>
          </p:nvSpPr>
          <p:spPr bwMode="auto">
            <a:xfrm>
              <a:off x="5758314" y="2823021"/>
              <a:ext cx="32572" cy="6079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77" name="Rectangle 411">
              <a:extLst>
                <a:ext uri="{FF2B5EF4-FFF2-40B4-BE49-F238E27FC236}">
                  <a16:creationId xmlns:a16="http://schemas.microsoft.com/office/drawing/2014/main" id="{E2D54E3E-00F4-4710-A9CC-FF956864E9D0}"/>
                </a:ext>
              </a:extLst>
            </p:cNvPr>
            <p:cNvSpPr>
              <a:spLocks noChangeArrowheads="1"/>
            </p:cNvSpPr>
            <p:nvPr/>
          </p:nvSpPr>
          <p:spPr bwMode="auto">
            <a:xfrm>
              <a:off x="5834313" y="2823021"/>
              <a:ext cx="32572" cy="6079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78" name="Rectangle 412">
              <a:extLst>
                <a:ext uri="{FF2B5EF4-FFF2-40B4-BE49-F238E27FC236}">
                  <a16:creationId xmlns:a16="http://schemas.microsoft.com/office/drawing/2014/main" id="{504CBBC5-D51A-4950-B189-B13F575086A1}"/>
                </a:ext>
              </a:extLst>
            </p:cNvPr>
            <p:cNvSpPr>
              <a:spLocks noChangeArrowheads="1"/>
            </p:cNvSpPr>
            <p:nvPr/>
          </p:nvSpPr>
          <p:spPr bwMode="auto">
            <a:xfrm>
              <a:off x="5610660" y="2916390"/>
              <a:ext cx="39085" cy="67313"/>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79" name="Rectangle 413">
              <a:extLst>
                <a:ext uri="{FF2B5EF4-FFF2-40B4-BE49-F238E27FC236}">
                  <a16:creationId xmlns:a16="http://schemas.microsoft.com/office/drawing/2014/main" id="{95576961-623E-4C29-90E9-678C05A5D9C9}"/>
                </a:ext>
              </a:extLst>
            </p:cNvPr>
            <p:cNvSpPr>
              <a:spLocks noChangeArrowheads="1"/>
            </p:cNvSpPr>
            <p:nvPr/>
          </p:nvSpPr>
          <p:spPr bwMode="auto">
            <a:xfrm>
              <a:off x="5834313" y="2916390"/>
              <a:ext cx="32572" cy="67313"/>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80" name="Rectangle 414">
              <a:extLst>
                <a:ext uri="{FF2B5EF4-FFF2-40B4-BE49-F238E27FC236}">
                  <a16:creationId xmlns:a16="http://schemas.microsoft.com/office/drawing/2014/main" id="{B1972936-6F7D-4A4E-92B0-9F3078D29992}"/>
                </a:ext>
              </a:extLst>
            </p:cNvPr>
            <p:cNvSpPr>
              <a:spLocks noChangeArrowheads="1"/>
            </p:cNvSpPr>
            <p:nvPr/>
          </p:nvSpPr>
          <p:spPr bwMode="auto">
            <a:xfrm>
              <a:off x="5610660" y="3011931"/>
              <a:ext cx="39085" cy="65142"/>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81" name="Rectangle 415">
              <a:extLst>
                <a:ext uri="{FF2B5EF4-FFF2-40B4-BE49-F238E27FC236}">
                  <a16:creationId xmlns:a16="http://schemas.microsoft.com/office/drawing/2014/main" id="{7D1273C7-B5A2-4402-96B8-F8C61DC52C9B}"/>
                </a:ext>
              </a:extLst>
            </p:cNvPr>
            <p:cNvSpPr>
              <a:spLocks noChangeArrowheads="1"/>
            </p:cNvSpPr>
            <p:nvPr/>
          </p:nvSpPr>
          <p:spPr bwMode="auto">
            <a:xfrm>
              <a:off x="5686658" y="3011931"/>
              <a:ext cx="34742" cy="65142"/>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82" name="Rectangle 416">
              <a:extLst>
                <a:ext uri="{FF2B5EF4-FFF2-40B4-BE49-F238E27FC236}">
                  <a16:creationId xmlns:a16="http://schemas.microsoft.com/office/drawing/2014/main" id="{9B7473F5-1928-418B-A91E-B4B8F8031E7B}"/>
                </a:ext>
              </a:extLst>
            </p:cNvPr>
            <p:cNvSpPr>
              <a:spLocks noChangeArrowheads="1"/>
            </p:cNvSpPr>
            <p:nvPr/>
          </p:nvSpPr>
          <p:spPr bwMode="auto">
            <a:xfrm>
              <a:off x="5758314" y="3105300"/>
              <a:ext cx="32572" cy="67313"/>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83" name="Rectangle 417">
              <a:extLst>
                <a:ext uri="{FF2B5EF4-FFF2-40B4-BE49-F238E27FC236}">
                  <a16:creationId xmlns:a16="http://schemas.microsoft.com/office/drawing/2014/main" id="{E56CB8F1-6644-4DA4-8AA0-5170E897CA3C}"/>
                </a:ext>
              </a:extLst>
            </p:cNvPr>
            <p:cNvSpPr>
              <a:spLocks noChangeArrowheads="1"/>
            </p:cNvSpPr>
            <p:nvPr/>
          </p:nvSpPr>
          <p:spPr bwMode="auto">
            <a:xfrm>
              <a:off x="5834313" y="3105300"/>
              <a:ext cx="32572" cy="67313"/>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84" name="Rectangle 418">
              <a:extLst>
                <a:ext uri="{FF2B5EF4-FFF2-40B4-BE49-F238E27FC236}">
                  <a16:creationId xmlns:a16="http://schemas.microsoft.com/office/drawing/2014/main" id="{ED4A0DDF-5775-4981-9D5E-47FB854DC983}"/>
                </a:ext>
              </a:extLst>
            </p:cNvPr>
            <p:cNvSpPr>
              <a:spLocks noChangeArrowheads="1"/>
            </p:cNvSpPr>
            <p:nvPr/>
          </p:nvSpPr>
          <p:spPr bwMode="auto">
            <a:xfrm>
              <a:off x="5686658" y="3205184"/>
              <a:ext cx="34742" cy="62971"/>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85" name="Rectangle 419">
              <a:extLst>
                <a:ext uri="{FF2B5EF4-FFF2-40B4-BE49-F238E27FC236}">
                  <a16:creationId xmlns:a16="http://schemas.microsoft.com/office/drawing/2014/main" id="{2D5548FC-4A12-4CAB-AC8F-BEB9EB32E3DC}"/>
                </a:ext>
              </a:extLst>
            </p:cNvPr>
            <p:cNvSpPr>
              <a:spLocks noChangeArrowheads="1"/>
            </p:cNvSpPr>
            <p:nvPr/>
          </p:nvSpPr>
          <p:spPr bwMode="auto">
            <a:xfrm>
              <a:off x="5834313" y="3205184"/>
              <a:ext cx="32572" cy="62971"/>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86" name="Rectangle 420">
              <a:extLst>
                <a:ext uri="{FF2B5EF4-FFF2-40B4-BE49-F238E27FC236}">
                  <a16:creationId xmlns:a16="http://schemas.microsoft.com/office/drawing/2014/main" id="{07393383-4B6F-4529-8D54-7BBC213BF9C2}"/>
                </a:ext>
              </a:extLst>
            </p:cNvPr>
            <p:cNvSpPr>
              <a:spLocks noChangeArrowheads="1"/>
            </p:cNvSpPr>
            <p:nvPr/>
          </p:nvSpPr>
          <p:spPr bwMode="auto">
            <a:xfrm>
              <a:off x="5439122" y="3205184"/>
              <a:ext cx="34742" cy="62971"/>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87" name="Rectangle 421">
              <a:extLst>
                <a:ext uri="{FF2B5EF4-FFF2-40B4-BE49-F238E27FC236}">
                  <a16:creationId xmlns:a16="http://schemas.microsoft.com/office/drawing/2014/main" id="{32630F37-C48C-461B-AFC1-6C86FB545591}"/>
                </a:ext>
              </a:extLst>
            </p:cNvPr>
            <p:cNvSpPr>
              <a:spLocks noChangeArrowheads="1"/>
            </p:cNvSpPr>
            <p:nvPr/>
          </p:nvSpPr>
          <p:spPr bwMode="auto">
            <a:xfrm>
              <a:off x="5510777" y="3205184"/>
              <a:ext cx="32572" cy="62971"/>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88" name="Rectangle 422">
              <a:extLst>
                <a:ext uri="{FF2B5EF4-FFF2-40B4-BE49-F238E27FC236}">
                  <a16:creationId xmlns:a16="http://schemas.microsoft.com/office/drawing/2014/main" id="{300A6A04-B67B-4CB5-95FC-79BDAEB6A858}"/>
                </a:ext>
              </a:extLst>
            </p:cNvPr>
            <p:cNvSpPr>
              <a:spLocks noChangeArrowheads="1"/>
            </p:cNvSpPr>
            <p:nvPr/>
          </p:nvSpPr>
          <p:spPr bwMode="auto">
            <a:xfrm>
              <a:off x="5363123" y="3300725"/>
              <a:ext cx="34742" cy="6079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89" name="Rectangle 423">
              <a:extLst>
                <a:ext uri="{FF2B5EF4-FFF2-40B4-BE49-F238E27FC236}">
                  <a16:creationId xmlns:a16="http://schemas.microsoft.com/office/drawing/2014/main" id="{6765B4CB-7077-4724-AE1B-21D125BB8B4D}"/>
                </a:ext>
              </a:extLst>
            </p:cNvPr>
            <p:cNvSpPr>
              <a:spLocks noChangeArrowheads="1"/>
            </p:cNvSpPr>
            <p:nvPr/>
          </p:nvSpPr>
          <p:spPr bwMode="auto">
            <a:xfrm>
              <a:off x="5510777" y="3300725"/>
              <a:ext cx="32572" cy="6079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90" name="Rectangle 424">
              <a:extLst>
                <a:ext uri="{FF2B5EF4-FFF2-40B4-BE49-F238E27FC236}">
                  <a16:creationId xmlns:a16="http://schemas.microsoft.com/office/drawing/2014/main" id="{80ADFAA7-4750-42B9-B1F2-13E4A5108B51}"/>
                </a:ext>
              </a:extLst>
            </p:cNvPr>
            <p:cNvSpPr>
              <a:spLocks noChangeArrowheads="1"/>
            </p:cNvSpPr>
            <p:nvPr/>
          </p:nvSpPr>
          <p:spPr bwMode="auto">
            <a:xfrm>
              <a:off x="5610660" y="3300725"/>
              <a:ext cx="39085" cy="6079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191" name="Rectangle 425">
              <a:extLst>
                <a:ext uri="{FF2B5EF4-FFF2-40B4-BE49-F238E27FC236}">
                  <a16:creationId xmlns:a16="http://schemas.microsoft.com/office/drawing/2014/main" id="{B95F6BAB-AA0C-44A1-BF47-1317D69635AD}"/>
                </a:ext>
              </a:extLst>
            </p:cNvPr>
            <p:cNvSpPr>
              <a:spLocks noChangeArrowheads="1"/>
            </p:cNvSpPr>
            <p:nvPr/>
          </p:nvSpPr>
          <p:spPr bwMode="auto">
            <a:xfrm>
              <a:off x="5758314" y="3300725"/>
              <a:ext cx="32572" cy="6079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grpSp>
      <p:cxnSp>
        <p:nvCxnSpPr>
          <p:cNvPr id="20" name="Straight Arrow Connector 19">
            <a:extLst>
              <a:ext uri="{FF2B5EF4-FFF2-40B4-BE49-F238E27FC236}">
                <a16:creationId xmlns:a16="http://schemas.microsoft.com/office/drawing/2014/main" id="{2648C8E0-59DD-4BD2-9E39-C30FCEE1FA5B}"/>
              </a:ext>
            </a:extLst>
          </p:cNvPr>
          <p:cNvCxnSpPr>
            <a:endCxn id="290" idx="8"/>
          </p:cNvCxnSpPr>
          <p:nvPr/>
        </p:nvCxnSpPr>
        <p:spPr>
          <a:xfrm>
            <a:off x="5794169" y="2953279"/>
            <a:ext cx="714957" cy="10031"/>
          </a:xfrm>
          <a:prstGeom prst="straightConnector1">
            <a:avLst/>
          </a:prstGeom>
          <a:ln w="28575">
            <a:solidFill>
              <a:srgbClr val="00B050"/>
            </a:solidFill>
            <a:headEnd type="none"/>
            <a:tailEnd type="triangle"/>
          </a:ln>
          <a:effectLst/>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8D66BB67-636A-46A1-86EF-BE7A553032F2}"/>
              </a:ext>
            </a:extLst>
          </p:cNvPr>
          <p:cNvCxnSpPr>
            <a:stCxn id="290" idx="2"/>
            <a:endCxn id="243" idx="4"/>
          </p:cNvCxnSpPr>
          <p:nvPr/>
        </p:nvCxnSpPr>
        <p:spPr>
          <a:xfrm flipH="1" flipV="1">
            <a:off x="7023895" y="2141345"/>
            <a:ext cx="7632" cy="558490"/>
          </a:xfrm>
          <a:prstGeom prst="straightConnector1">
            <a:avLst/>
          </a:prstGeom>
          <a:ln w="28575">
            <a:solidFill>
              <a:srgbClr val="00B050"/>
            </a:solidFill>
            <a:headEnd type="none"/>
            <a:tailEnd type="triangle"/>
          </a:ln>
          <a:effectLst/>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81C12740-7543-442E-A1FA-9A151D3AD0E0}"/>
              </a:ext>
            </a:extLst>
          </p:cNvPr>
          <p:cNvCxnSpPr>
            <a:cxnSpLocks/>
            <a:stCxn id="145" idx="3"/>
          </p:cNvCxnSpPr>
          <p:nvPr/>
        </p:nvCxnSpPr>
        <p:spPr>
          <a:xfrm>
            <a:off x="7363352" y="4110518"/>
            <a:ext cx="259568" cy="868185"/>
          </a:xfrm>
          <a:prstGeom prst="bentConnector2">
            <a:avLst/>
          </a:prstGeom>
          <a:ln w="28575">
            <a:solidFill>
              <a:srgbClr val="00B050"/>
            </a:solidFill>
            <a:headEnd type="none"/>
            <a:tailEnd type="triangle"/>
          </a:ln>
          <a:effectLst/>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E4EDF6FF-1942-44CB-BE39-10E7D9ECD0DD}"/>
              </a:ext>
            </a:extLst>
          </p:cNvPr>
          <p:cNvCxnSpPr>
            <a:stCxn id="294" idx="2"/>
            <a:endCxn id="250" idx="3"/>
          </p:cNvCxnSpPr>
          <p:nvPr/>
        </p:nvCxnSpPr>
        <p:spPr>
          <a:xfrm rot="5400000">
            <a:off x="7186645" y="5599574"/>
            <a:ext cx="523438" cy="293709"/>
          </a:xfrm>
          <a:prstGeom prst="bentConnector2">
            <a:avLst/>
          </a:prstGeom>
          <a:ln w="28575">
            <a:solidFill>
              <a:srgbClr val="00B050"/>
            </a:solidFill>
            <a:headEnd type="none"/>
            <a:tailEnd type="triangle"/>
          </a:ln>
          <a:effectLst/>
        </p:spPr>
        <p:style>
          <a:lnRef idx="1">
            <a:schemeClr val="accent1"/>
          </a:lnRef>
          <a:fillRef idx="0">
            <a:schemeClr val="accent1"/>
          </a:fillRef>
          <a:effectRef idx="0">
            <a:schemeClr val="accent1"/>
          </a:effectRef>
          <a:fontRef idx="minor">
            <a:schemeClr val="tx1"/>
          </a:fontRef>
        </p:style>
      </p:cxnSp>
      <p:grpSp>
        <p:nvGrpSpPr>
          <p:cNvPr id="203" name="Group 202">
            <a:extLst>
              <a:ext uri="{FF2B5EF4-FFF2-40B4-BE49-F238E27FC236}">
                <a16:creationId xmlns:a16="http://schemas.microsoft.com/office/drawing/2014/main" id="{4F6B15E9-9C72-4350-8E52-B366C54BF6BC}"/>
              </a:ext>
            </a:extLst>
          </p:cNvPr>
          <p:cNvGrpSpPr/>
          <p:nvPr/>
        </p:nvGrpSpPr>
        <p:grpSpPr>
          <a:xfrm>
            <a:off x="1259200" y="3291006"/>
            <a:ext cx="751447" cy="443978"/>
            <a:chOff x="1376431" y="1844044"/>
            <a:chExt cx="766624" cy="452945"/>
          </a:xfrm>
        </p:grpSpPr>
        <p:sp>
          <p:nvSpPr>
            <p:cNvPr id="204" name="Freeform 435">
              <a:extLst>
                <a:ext uri="{FF2B5EF4-FFF2-40B4-BE49-F238E27FC236}">
                  <a16:creationId xmlns:a16="http://schemas.microsoft.com/office/drawing/2014/main" id="{045CD2AB-73C1-4274-B747-C7890A0A4649}"/>
                </a:ext>
              </a:extLst>
            </p:cNvPr>
            <p:cNvSpPr>
              <a:spLocks/>
            </p:cNvSpPr>
            <p:nvPr/>
          </p:nvSpPr>
          <p:spPr bwMode="auto">
            <a:xfrm>
              <a:off x="1376431" y="1844044"/>
              <a:ext cx="766624" cy="323997"/>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chemeClr val="bg1"/>
            </a:solidFill>
            <a:ln w="9525">
              <a:solidFill>
                <a:srgbClr val="000000"/>
              </a:solidFill>
              <a:round/>
              <a:headEnd/>
              <a:tailEnd/>
            </a:ln>
          </p:spPr>
          <p:txBody>
            <a:bodyPr vert="horz" wrap="square" lIns="89630" tIns="44814" rIns="89630" bIns="44814" numCol="1" anchor="t" anchorCtr="0" compatLnSpc="1">
              <a:prstTxWarp prst="textNoShape">
                <a:avLst/>
              </a:prstTxWarp>
            </a:bodyPr>
            <a:lstStyle/>
            <a:p>
              <a:pPr defTabSz="914192">
                <a:defRPr/>
              </a:pPr>
              <a:endParaRPr lang="en-US" sz="1836">
                <a:solidFill>
                  <a:srgbClr val="353535"/>
                </a:solidFill>
              </a:endParaRPr>
            </a:p>
          </p:txBody>
        </p:sp>
        <p:sp>
          <p:nvSpPr>
            <p:cNvPr id="205" name="TextBox 204">
              <a:extLst>
                <a:ext uri="{FF2B5EF4-FFF2-40B4-BE49-F238E27FC236}">
                  <a16:creationId xmlns:a16="http://schemas.microsoft.com/office/drawing/2014/main" id="{99802F25-D16A-43BC-B757-23ABBE601A59}"/>
                </a:ext>
              </a:extLst>
            </p:cNvPr>
            <p:cNvSpPr txBox="1"/>
            <p:nvPr/>
          </p:nvSpPr>
          <p:spPr>
            <a:xfrm>
              <a:off x="1553488" y="1876874"/>
              <a:ext cx="541541" cy="420115"/>
            </a:xfrm>
            <a:prstGeom prst="rect">
              <a:avLst/>
            </a:prstGeom>
            <a:noFill/>
          </p:spPr>
          <p:txBody>
            <a:bodyPr wrap="square" lIns="179259" tIns="143407" rIns="179259" bIns="143407" rtlCol="0">
              <a:spAutoFit/>
            </a:bodyPr>
            <a:lstStyle/>
            <a:p>
              <a:pPr defTabSz="914192">
                <a:lnSpc>
                  <a:spcPct val="90000"/>
                </a:lnSpc>
                <a:spcAft>
                  <a:spcPts val="588"/>
                </a:spcAft>
                <a:defRPr/>
              </a:pPr>
              <a:r>
                <a:rPr lang="en-US" sz="882" b="1">
                  <a:gradFill>
                    <a:gsLst>
                      <a:gs pos="2917">
                        <a:srgbClr val="353535"/>
                      </a:gs>
                      <a:gs pos="30000">
                        <a:srgbClr val="353535"/>
                      </a:gs>
                    </a:gsLst>
                    <a:lin ang="5400000" scaled="0"/>
                  </a:gradFill>
                </a:rPr>
                <a:t>ISP</a:t>
              </a:r>
            </a:p>
          </p:txBody>
        </p:sp>
      </p:grpSp>
    </p:spTree>
    <p:extLst>
      <p:ext uri="{BB962C8B-B14F-4D97-AF65-F5344CB8AC3E}">
        <p14:creationId xmlns:p14="http://schemas.microsoft.com/office/powerpoint/2010/main" val="52854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6"/>
                                        </p:tgtEl>
                                        <p:attrNameLst>
                                          <p:attrName>style.visibility</p:attrName>
                                        </p:attrNameLst>
                                      </p:cBhvr>
                                      <p:to>
                                        <p:strVal val="visible"/>
                                      </p:to>
                                    </p:set>
                                    <p:animEffect transition="in" filter="fade">
                                      <p:cBhvr>
                                        <p:cTn id="7" dur="500"/>
                                        <p:tgtEl>
                                          <p:spTgt spid="14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8"/>
                                        </p:tgtEl>
                                        <p:attrNameLst>
                                          <p:attrName>style.visibility</p:attrName>
                                        </p:attrNameLst>
                                      </p:cBhvr>
                                      <p:to>
                                        <p:strVal val="visible"/>
                                      </p:to>
                                    </p:set>
                                    <p:animEffect transition="in" filter="fade">
                                      <p:cBhvr>
                                        <p:cTn id="10" dur="500"/>
                                        <p:tgtEl>
                                          <p:spTgt spid="198"/>
                                        </p:tgtEl>
                                      </p:cBhvr>
                                    </p:animEffect>
                                  </p:childTnLst>
                                </p:cTn>
                              </p:par>
                              <p:par>
                                <p:cTn id="11" presetID="10" presetClass="entr" presetSubtype="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par>
                                <p:cTn id="14" presetID="10" presetClass="entr" presetSubtype="0" fill="hold"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par>
                                <p:cTn id="17" presetID="10" presetClass="entr" presetSubtype="0" fill="hold"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par>
                                <p:cTn id="20" presetID="10" presetClass="entr" presetSubtype="0" fill="hold"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10" presetClass="entr" presetSubtype="0" fill="hold" nodeType="withEffect">
                                  <p:stCondLst>
                                    <p:cond delay="0"/>
                                  </p:stCondLst>
                                  <p:childTnLst>
                                    <p:set>
                                      <p:cBhvr>
                                        <p:cTn id="24" dur="1" fill="hold">
                                          <p:stCondLst>
                                            <p:cond delay="0"/>
                                          </p:stCondLst>
                                        </p:cTn>
                                        <p:tgtEl>
                                          <p:spTgt spid="195"/>
                                        </p:tgtEl>
                                        <p:attrNameLst>
                                          <p:attrName>style.visibility</p:attrName>
                                        </p:attrNameLst>
                                      </p:cBhvr>
                                      <p:to>
                                        <p:strVal val="visible"/>
                                      </p:to>
                                    </p:set>
                                    <p:animEffect transition="in" filter="fade">
                                      <p:cBhvr>
                                        <p:cTn id="25" dur="500"/>
                                        <p:tgtEl>
                                          <p:spTgt spid="195"/>
                                        </p:tgtEl>
                                      </p:cBhvr>
                                    </p:animEffect>
                                  </p:childTnLst>
                                </p:cTn>
                              </p:par>
                            </p:childTnLst>
                          </p:cTn>
                        </p:par>
                        <p:par>
                          <p:cTn id="26" fill="hold">
                            <p:stCondLst>
                              <p:cond delay="500"/>
                            </p:stCondLst>
                            <p:childTnLst>
                              <p:par>
                                <p:cTn id="27" presetID="22" presetClass="entr" presetSubtype="4" fill="hold" nodeType="afterEffect">
                                  <p:stCondLst>
                                    <p:cond delay="0"/>
                                  </p:stCondLst>
                                  <p:childTnLst>
                                    <p:set>
                                      <p:cBhvr>
                                        <p:cTn id="28" dur="1" fill="hold">
                                          <p:stCondLst>
                                            <p:cond delay="0"/>
                                          </p:stCondLst>
                                        </p:cTn>
                                        <p:tgtEl>
                                          <p:spTgt spid="139"/>
                                        </p:tgtEl>
                                        <p:attrNameLst>
                                          <p:attrName>style.visibility</p:attrName>
                                        </p:attrNameLst>
                                      </p:cBhvr>
                                      <p:to>
                                        <p:strVal val="visible"/>
                                      </p:to>
                                    </p:set>
                                    <p:animEffect transition="in" filter="wipe(down)">
                                      <p:cBhvr>
                                        <p:cTn id="29" dur="500"/>
                                        <p:tgtEl>
                                          <p:spTgt spid="139"/>
                                        </p:tgtEl>
                                      </p:cBhvr>
                                    </p:animEffect>
                                  </p:childTnLst>
                                </p:cTn>
                              </p:par>
                              <p:par>
                                <p:cTn id="30" presetID="22" presetClass="entr" presetSubtype="8" fill="hold" nodeType="withEffect">
                                  <p:stCondLst>
                                    <p:cond delay="0"/>
                                  </p:stCondLst>
                                  <p:childTnLst>
                                    <p:set>
                                      <p:cBhvr>
                                        <p:cTn id="31" dur="1" fill="hold">
                                          <p:stCondLst>
                                            <p:cond delay="0"/>
                                          </p:stCondLst>
                                        </p:cTn>
                                        <p:tgtEl>
                                          <p:spTgt spid="140"/>
                                        </p:tgtEl>
                                        <p:attrNameLst>
                                          <p:attrName>style.visibility</p:attrName>
                                        </p:attrNameLst>
                                      </p:cBhvr>
                                      <p:to>
                                        <p:strVal val="visible"/>
                                      </p:to>
                                    </p:set>
                                    <p:animEffect transition="in" filter="wipe(left)">
                                      <p:cBhvr>
                                        <p:cTn id="32" dur="500"/>
                                        <p:tgtEl>
                                          <p:spTgt spid="140"/>
                                        </p:tgtEl>
                                      </p:cBhvr>
                                    </p:animEffect>
                                  </p:childTnLst>
                                </p:cTn>
                              </p:par>
                              <p:par>
                                <p:cTn id="33" presetID="22" presetClass="entr" presetSubtype="8" fill="hold" nodeType="withEffect">
                                  <p:stCondLst>
                                    <p:cond delay="0"/>
                                  </p:stCondLst>
                                  <p:childTnLst>
                                    <p:set>
                                      <p:cBhvr>
                                        <p:cTn id="34" dur="1" fill="hold">
                                          <p:stCondLst>
                                            <p:cond delay="0"/>
                                          </p:stCondLst>
                                        </p:cTn>
                                        <p:tgtEl>
                                          <p:spTgt spid="138"/>
                                        </p:tgtEl>
                                        <p:attrNameLst>
                                          <p:attrName>style.visibility</p:attrName>
                                        </p:attrNameLst>
                                      </p:cBhvr>
                                      <p:to>
                                        <p:strVal val="visible"/>
                                      </p:to>
                                    </p:set>
                                    <p:animEffect transition="in" filter="wipe(left)">
                                      <p:cBhvr>
                                        <p:cTn id="35" dur="500"/>
                                        <p:tgtEl>
                                          <p:spTgt spid="138"/>
                                        </p:tgtEl>
                                      </p:cBhvr>
                                    </p:animEffect>
                                  </p:childTnLst>
                                </p:cTn>
                              </p:par>
                              <p:par>
                                <p:cTn id="36" presetID="22" presetClass="entr" presetSubtype="2" fill="hold" nodeType="withEffect">
                                  <p:stCondLst>
                                    <p:cond delay="0"/>
                                  </p:stCondLst>
                                  <p:childTnLst>
                                    <p:set>
                                      <p:cBhvr>
                                        <p:cTn id="37" dur="1" fill="hold">
                                          <p:stCondLst>
                                            <p:cond delay="0"/>
                                          </p:stCondLst>
                                        </p:cTn>
                                        <p:tgtEl>
                                          <p:spTgt spid="141"/>
                                        </p:tgtEl>
                                        <p:attrNameLst>
                                          <p:attrName>style.visibility</p:attrName>
                                        </p:attrNameLst>
                                      </p:cBhvr>
                                      <p:to>
                                        <p:strVal val="visible"/>
                                      </p:to>
                                    </p:set>
                                    <p:animEffect transition="in" filter="wipe(right)">
                                      <p:cBhvr>
                                        <p:cTn id="38" dur="500"/>
                                        <p:tgtEl>
                                          <p:spTgt spid="141"/>
                                        </p:tgtEl>
                                      </p:cBhvr>
                                    </p:animEffect>
                                  </p:childTnLst>
                                </p:cTn>
                              </p:par>
                            </p:childTnLst>
                          </p:cTn>
                        </p:par>
                        <p:par>
                          <p:cTn id="39" fill="hold">
                            <p:stCondLst>
                              <p:cond delay="1000"/>
                            </p:stCondLst>
                            <p:childTnLst>
                              <p:par>
                                <p:cTn id="40" presetID="22" presetClass="entr" presetSubtype="8" fill="hold" nodeType="after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wipe(left)">
                                      <p:cBhvr>
                                        <p:cTn id="42" dur="500"/>
                                        <p:tgtEl>
                                          <p:spTgt spid="2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91"/>
                                        </p:tgtEl>
                                        <p:attrNameLst>
                                          <p:attrName>style.visibility</p:attrName>
                                        </p:attrNameLst>
                                      </p:cBhvr>
                                      <p:to>
                                        <p:strVal val="visible"/>
                                      </p:to>
                                    </p:set>
                                    <p:animEffect transition="in" filter="fade">
                                      <p:cBhvr>
                                        <p:cTn id="45" dur="500"/>
                                        <p:tgtEl>
                                          <p:spTgt spid="291"/>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90"/>
                                        </p:tgtEl>
                                        <p:attrNameLst>
                                          <p:attrName>style.visibility</p:attrName>
                                        </p:attrNameLst>
                                      </p:cBhvr>
                                      <p:to>
                                        <p:strVal val="visible"/>
                                      </p:to>
                                    </p:set>
                                    <p:animEffect transition="in" filter="fade">
                                      <p:cBhvr>
                                        <p:cTn id="48" dur="500"/>
                                        <p:tgtEl>
                                          <p:spTgt spid="290"/>
                                        </p:tgtEl>
                                      </p:cBhvr>
                                    </p:animEffect>
                                  </p:childTnLst>
                                </p:cTn>
                              </p:par>
                              <p:par>
                                <p:cTn id="49" presetID="22" presetClass="entr" presetSubtype="4" fill="hold" nodeType="with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wipe(down)">
                                      <p:cBhvr>
                                        <p:cTn id="51" dur="500"/>
                                        <p:tgtEl>
                                          <p:spTgt spid="22"/>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44"/>
                                        </p:tgtEl>
                                        <p:attrNameLst>
                                          <p:attrName>style.visibility</p:attrName>
                                        </p:attrNameLst>
                                      </p:cBhvr>
                                      <p:to>
                                        <p:strVal val="visible"/>
                                      </p:to>
                                    </p:set>
                                    <p:animEffect transition="in" filter="fade">
                                      <p:cBhvr>
                                        <p:cTn id="54" dur="500"/>
                                        <p:tgtEl>
                                          <p:spTgt spid="244"/>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243"/>
                                        </p:tgtEl>
                                        <p:attrNameLst>
                                          <p:attrName>style.visibility</p:attrName>
                                        </p:attrNameLst>
                                      </p:cBhvr>
                                      <p:to>
                                        <p:strVal val="visible"/>
                                      </p:to>
                                    </p:set>
                                    <p:animEffect transition="in" filter="fade">
                                      <p:cBhvr>
                                        <p:cTn id="57" dur="500"/>
                                        <p:tgtEl>
                                          <p:spTgt spid="243"/>
                                        </p:tgtEl>
                                      </p:cBhvr>
                                    </p:animEffect>
                                  </p:childTnLst>
                                </p:cTn>
                              </p:par>
                              <p:par>
                                <p:cTn id="58" presetID="22" presetClass="entr" presetSubtype="1" fill="hold" nodeType="with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wipe(up)">
                                      <p:cBhvr>
                                        <p:cTn id="60" dur="500"/>
                                        <p:tgtEl>
                                          <p:spTgt spid="26"/>
                                        </p:tgtEl>
                                      </p:cBhvr>
                                    </p:animEffect>
                                  </p:childTnLst>
                                </p:cTn>
                              </p:par>
                              <p:par>
                                <p:cTn id="61" presetID="10" presetClass="entr" presetSubtype="0" fill="hold" nodeType="withEffect">
                                  <p:stCondLst>
                                    <p:cond delay="0"/>
                                  </p:stCondLst>
                                  <p:childTnLst>
                                    <p:set>
                                      <p:cBhvr>
                                        <p:cTn id="62" dur="1" fill="hold">
                                          <p:stCondLst>
                                            <p:cond delay="0"/>
                                          </p:stCondLst>
                                        </p:cTn>
                                        <p:tgtEl>
                                          <p:spTgt spid="196"/>
                                        </p:tgtEl>
                                        <p:attrNameLst>
                                          <p:attrName>style.visibility</p:attrName>
                                        </p:attrNameLst>
                                      </p:cBhvr>
                                      <p:to>
                                        <p:strVal val="visible"/>
                                      </p:to>
                                    </p:set>
                                    <p:animEffect transition="in" filter="fade">
                                      <p:cBhvr>
                                        <p:cTn id="63" dur="500"/>
                                        <p:tgtEl>
                                          <p:spTgt spid="196"/>
                                        </p:tgtEl>
                                      </p:cBhvr>
                                    </p:animEffect>
                                  </p:childTnLst>
                                </p:cTn>
                              </p:par>
                              <p:par>
                                <p:cTn id="64" presetID="22" presetClass="entr" presetSubtype="1" fill="hold" nodeType="withEffect">
                                  <p:stCondLst>
                                    <p:cond delay="0"/>
                                  </p:stCondLst>
                                  <p:childTnLst>
                                    <p:set>
                                      <p:cBhvr>
                                        <p:cTn id="65" dur="1" fill="hold">
                                          <p:stCondLst>
                                            <p:cond delay="0"/>
                                          </p:stCondLst>
                                        </p:cTn>
                                        <p:tgtEl>
                                          <p:spTgt spid="28"/>
                                        </p:tgtEl>
                                        <p:attrNameLst>
                                          <p:attrName>style.visibility</p:attrName>
                                        </p:attrNameLst>
                                      </p:cBhvr>
                                      <p:to>
                                        <p:strVal val="visible"/>
                                      </p:to>
                                    </p:set>
                                    <p:animEffect transition="in" filter="wipe(up)">
                                      <p:cBhvr>
                                        <p:cTn id="66" dur="500"/>
                                        <p:tgtEl>
                                          <p:spTgt spid="28"/>
                                        </p:tgtEl>
                                      </p:cBhvr>
                                    </p:animEffect>
                                  </p:childTnLst>
                                </p:cTn>
                              </p:par>
                              <p:par>
                                <p:cTn id="67" presetID="10" presetClass="entr" presetSubtype="0" fill="hold" nodeType="withEffect">
                                  <p:stCondLst>
                                    <p:cond delay="0"/>
                                  </p:stCondLst>
                                  <p:childTnLst>
                                    <p:set>
                                      <p:cBhvr>
                                        <p:cTn id="68" dur="1" fill="hold">
                                          <p:stCondLst>
                                            <p:cond delay="0"/>
                                          </p:stCondLst>
                                        </p:cTn>
                                        <p:tgtEl>
                                          <p:spTgt spid="197"/>
                                        </p:tgtEl>
                                        <p:attrNameLst>
                                          <p:attrName>style.visibility</p:attrName>
                                        </p:attrNameLst>
                                      </p:cBhvr>
                                      <p:to>
                                        <p:strVal val="visible"/>
                                      </p:to>
                                    </p:set>
                                    <p:animEffect transition="in" filter="fade">
                                      <p:cBhvr>
                                        <p:cTn id="69" dur="500"/>
                                        <p:tgtEl>
                                          <p:spTgt spid="197"/>
                                        </p:tgtEl>
                                      </p:cBhvr>
                                    </p:animEffect>
                                  </p:childTnLst>
                                </p:cTn>
                              </p:par>
                              <p:par>
                                <p:cTn id="70" presetID="22" presetClass="entr" presetSubtype="2" fill="hold" nodeType="withEffect">
                                  <p:stCondLst>
                                    <p:cond delay="0"/>
                                  </p:stCondLst>
                                  <p:childTnLst>
                                    <p:set>
                                      <p:cBhvr>
                                        <p:cTn id="71" dur="1" fill="hold">
                                          <p:stCondLst>
                                            <p:cond delay="0"/>
                                          </p:stCondLst>
                                        </p:cTn>
                                        <p:tgtEl>
                                          <p:spTgt spid="272"/>
                                        </p:tgtEl>
                                        <p:attrNameLst>
                                          <p:attrName>style.visibility</p:attrName>
                                        </p:attrNameLst>
                                      </p:cBhvr>
                                      <p:to>
                                        <p:strVal val="visible"/>
                                      </p:to>
                                    </p:set>
                                    <p:animEffect transition="in" filter="wipe(right)">
                                      <p:cBhvr>
                                        <p:cTn id="72" dur="500"/>
                                        <p:tgtEl>
                                          <p:spTgt spid="272"/>
                                        </p:tgtEl>
                                      </p:cBhvr>
                                    </p:animEffect>
                                  </p:childTnLst>
                                </p:cTn>
                              </p:par>
                              <p:par>
                                <p:cTn id="73" presetID="10" presetClass="entr" presetSubtype="0" fill="hold" nodeType="withEffect">
                                  <p:stCondLst>
                                    <p:cond delay="0"/>
                                  </p:stCondLst>
                                  <p:childTnLst>
                                    <p:set>
                                      <p:cBhvr>
                                        <p:cTn id="74" dur="1" fill="hold">
                                          <p:stCondLst>
                                            <p:cond delay="0"/>
                                          </p:stCondLst>
                                        </p:cTn>
                                        <p:tgtEl>
                                          <p:spTgt spid="199"/>
                                        </p:tgtEl>
                                        <p:attrNameLst>
                                          <p:attrName>style.visibility</p:attrName>
                                        </p:attrNameLst>
                                      </p:cBhvr>
                                      <p:to>
                                        <p:strVal val="visible"/>
                                      </p:to>
                                    </p:set>
                                    <p:animEffect transition="in" filter="fade">
                                      <p:cBhvr>
                                        <p:cTn id="75" dur="500"/>
                                        <p:tgtEl>
                                          <p:spTgt spid="199"/>
                                        </p:tgtEl>
                                      </p:cBhvr>
                                    </p:animEffect>
                                  </p:childTnLst>
                                </p:cTn>
                              </p:par>
                              <p:par>
                                <p:cTn id="76" presetID="10" presetClass="entr" presetSubtype="0" fill="hold" nodeType="withEffect">
                                  <p:stCondLst>
                                    <p:cond delay="0"/>
                                  </p:stCondLst>
                                  <p:childTnLst>
                                    <p:set>
                                      <p:cBhvr>
                                        <p:cTn id="77" dur="1" fill="hold">
                                          <p:stCondLst>
                                            <p:cond delay="0"/>
                                          </p:stCondLst>
                                        </p:cTn>
                                        <p:tgtEl>
                                          <p:spTgt spid="192"/>
                                        </p:tgtEl>
                                        <p:attrNameLst>
                                          <p:attrName>style.visibility</p:attrName>
                                        </p:attrNameLst>
                                      </p:cBhvr>
                                      <p:to>
                                        <p:strVal val="visible"/>
                                      </p:to>
                                    </p:set>
                                    <p:animEffect transition="in" filter="fade">
                                      <p:cBhvr>
                                        <p:cTn id="78" dur="500"/>
                                        <p:tgtEl>
                                          <p:spTgt spid="192"/>
                                        </p:tgtEl>
                                      </p:cBhvr>
                                    </p:animEffect>
                                  </p:childTnLst>
                                </p:cTn>
                              </p:par>
                              <p:par>
                                <p:cTn id="79" presetID="22" presetClass="entr" presetSubtype="2" fill="hold" nodeType="withEffect">
                                  <p:stCondLst>
                                    <p:cond delay="0"/>
                                  </p:stCondLst>
                                  <p:childTnLst>
                                    <p:set>
                                      <p:cBhvr>
                                        <p:cTn id="80" dur="1" fill="hold">
                                          <p:stCondLst>
                                            <p:cond delay="0"/>
                                          </p:stCondLst>
                                        </p:cTn>
                                        <p:tgtEl>
                                          <p:spTgt spid="274"/>
                                        </p:tgtEl>
                                        <p:attrNameLst>
                                          <p:attrName>style.visibility</p:attrName>
                                        </p:attrNameLst>
                                      </p:cBhvr>
                                      <p:to>
                                        <p:strVal val="visible"/>
                                      </p:to>
                                    </p:set>
                                    <p:animEffect transition="in" filter="wipe(right)">
                                      <p:cBhvr>
                                        <p:cTn id="81" dur="500"/>
                                        <p:tgtEl>
                                          <p:spTgt spid="274"/>
                                        </p:tgtEl>
                                      </p:cBhvr>
                                    </p:animEffect>
                                  </p:childTnLst>
                                </p:cTn>
                              </p:par>
                              <p:par>
                                <p:cTn id="82" presetID="10" presetClass="entr" presetSubtype="0" fill="hold" nodeType="withEffect">
                                  <p:stCondLst>
                                    <p:cond delay="0"/>
                                  </p:stCondLst>
                                  <p:childTnLst>
                                    <p:set>
                                      <p:cBhvr>
                                        <p:cTn id="83" dur="1" fill="hold">
                                          <p:stCondLst>
                                            <p:cond delay="0"/>
                                          </p:stCondLst>
                                        </p:cTn>
                                        <p:tgtEl>
                                          <p:spTgt spid="193"/>
                                        </p:tgtEl>
                                        <p:attrNameLst>
                                          <p:attrName>style.visibility</p:attrName>
                                        </p:attrNameLst>
                                      </p:cBhvr>
                                      <p:to>
                                        <p:strVal val="visible"/>
                                      </p:to>
                                    </p:set>
                                    <p:animEffect transition="in" filter="fade">
                                      <p:cBhvr>
                                        <p:cTn id="84" dur="500"/>
                                        <p:tgtEl>
                                          <p:spTgt spid="193"/>
                                        </p:tgtEl>
                                      </p:cBhvr>
                                    </p:animEffect>
                                  </p:childTnLst>
                                </p:cTn>
                              </p:par>
                              <p:par>
                                <p:cTn id="85" presetID="22" presetClass="entr" presetSubtype="2" fill="hold" nodeType="withEffect">
                                  <p:stCondLst>
                                    <p:cond delay="0"/>
                                  </p:stCondLst>
                                  <p:childTnLst>
                                    <p:set>
                                      <p:cBhvr>
                                        <p:cTn id="86" dur="1" fill="hold">
                                          <p:stCondLst>
                                            <p:cond delay="0"/>
                                          </p:stCondLst>
                                        </p:cTn>
                                        <p:tgtEl>
                                          <p:spTgt spid="276"/>
                                        </p:tgtEl>
                                        <p:attrNameLst>
                                          <p:attrName>style.visibility</p:attrName>
                                        </p:attrNameLst>
                                      </p:cBhvr>
                                      <p:to>
                                        <p:strVal val="visible"/>
                                      </p:to>
                                    </p:set>
                                    <p:animEffect transition="in" filter="wipe(right)">
                                      <p:cBhvr>
                                        <p:cTn id="87" dur="500"/>
                                        <p:tgtEl>
                                          <p:spTgt spid="276"/>
                                        </p:tgtEl>
                                      </p:cBhvr>
                                    </p:animEffect>
                                  </p:childTnLst>
                                </p:cTn>
                              </p:par>
                              <p:par>
                                <p:cTn id="88" presetID="10" presetClass="entr" presetSubtype="0" fill="hold" nodeType="withEffect">
                                  <p:stCondLst>
                                    <p:cond delay="0"/>
                                  </p:stCondLst>
                                  <p:childTnLst>
                                    <p:set>
                                      <p:cBhvr>
                                        <p:cTn id="89" dur="1" fill="hold">
                                          <p:stCondLst>
                                            <p:cond delay="0"/>
                                          </p:stCondLst>
                                        </p:cTn>
                                        <p:tgtEl>
                                          <p:spTgt spid="201"/>
                                        </p:tgtEl>
                                        <p:attrNameLst>
                                          <p:attrName>style.visibility</p:attrName>
                                        </p:attrNameLst>
                                      </p:cBhvr>
                                      <p:to>
                                        <p:strVal val="visible"/>
                                      </p:to>
                                    </p:set>
                                    <p:animEffect transition="in" filter="fade">
                                      <p:cBhvr>
                                        <p:cTn id="90" dur="500"/>
                                        <p:tgtEl>
                                          <p:spTgt spid="201"/>
                                        </p:tgtEl>
                                      </p:cBhvr>
                                    </p:animEffect>
                                  </p:childTnLst>
                                </p:cTn>
                              </p:par>
                              <p:par>
                                <p:cTn id="91" presetID="22" presetClass="entr" presetSubtype="4" fill="hold" nodeType="withEffect">
                                  <p:stCondLst>
                                    <p:cond delay="0"/>
                                  </p:stCondLst>
                                  <p:childTnLst>
                                    <p:set>
                                      <p:cBhvr>
                                        <p:cTn id="92" dur="1" fill="hold">
                                          <p:stCondLst>
                                            <p:cond delay="0"/>
                                          </p:stCondLst>
                                        </p:cTn>
                                        <p:tgtEl>
                                          <p:spTgt spid="194"/>
                                        </p:tgtEl>
                                        <p:attrNameLst>
                                          <p:attrName>style.visibility</p:attrName>
                                        </p:attrNameLst>
                                      </p:cBhvr>
                                      <p:to>
                                        <p:strVal val="visible"/>
                                      </p:to>
                                    </p:set>
                                    <p:animEffect transition="in" filter="wipe(down)">
                                      <p:cBhvr>
                                        <p:cTn id="93" dur="500"/>
                                        <p:tgtEl>
                                          <p:spTgt spid="194"/>
                                        </p:tgtEl>
                                      </p:cBhvr>
                                    </p:animEffect>
                                  </p:childTnLst>
                                </p:cTn>
                              </p:par>
                              <p:par>
                                <p:cTn id="94" presetID="10" presetClass="entr" presetSubtype="0" fill="hold" nodeType="withEffect">
                                  <p:stCondLst>
                                    <p:cond delay="0"/>
                                  </p:stCondLst>
                                  <p:childTnLst>
                                    <p:set>
                                      <p:cBhvr>
                                        <p:cTn id="95" dur="1" fill="hold">
                                          <p:stCondLst>
                                            <p:cond delay="0"/>
                                          </p:stCondLst>
                                        </p:cTn>
                                        <p:tgtEl>
                                          <p:spTgt spid="203"/>
                                        </p:tgtEl>
                                        <p:attrNameLst>
                                          <p:attrName>style.visibility</p:attrName>
                                        </p:attrNameLst>
                                      </p:cBhvr>
                                      <p:to>
                                        <p:strVal val="visible"/>
                                      </p:to>
                                    </p:set>
                                    <p:animEffect transition="in" filter="fade">
                                      <p:cBhvr>
                                        <p:cTn id="96" dur="500"/>
                                        <p:tgtEl>
                                          <p:spTgt spid="2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6" grpId="0" animBg="1"/>
      <p:bldP spid="198" grpId="0"/>
      <p:bldP spid="243" grpId="0" animBg="1"/>
      <p:bldP spid="244" grpId="0"/>
      <p:bldP spid="290" grpId="0" animBg="1"/>
      <p:bldP spid="291" grpId="0"/>
    </p:bldLst>
  </p:timing>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015880" y="6101136"/>
            <a:ext cx="1872208" cy="692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27272816"/>
      </p:ext>
    </p:extLst>
  </p:cSld>
  <p:clrMapOvr>
    <a:masterClrMapping/>
  </p:clrMapOvr>
  <p:transition spd="slow">
    <p:push/>
  </p:transition>
</p:sld>
</file>

<file path=ppt/slides/slide20.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void throttling</a:t>
            </a:r>
            <a:endParaRPr lang="nb-NO" dirty="0"/>
          </a:p>
        </p:txBody>
      </p:sp>
    </p:spTree>
    <p:extLst>
      <p:ext uri="{BB962C8B-B14F-4D97-AF65-F5344CB8AC3E}">
        <p14:creationId xmlns:p14="http://schemas.microsoft.com/office/powerpoint/2010/main" val="1438167757"/>
      </p:ext>
    </p:extLst>
  </p:cSld>
  <p:clrMapOvr>
    <a:masterClrMapping/>
  </p:clrMapOvr>
</p:sld>
</file>

<file path=ppt/slides/slide2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What is throttling?</a:t>
            </a:r>
          </a:p>
        </p:txBody>
      </p:sp>
      <p:sp>
        <p:nvSpPr>
          <p:cNvPr id="6" name="Content Placeholder 5">
            <a:extLst>
              <a:ext uri="{FF2B5EF4-FFF2-40B4-BE49-F238E27FC236}">
                <a16:creationId xmlns:a16="http://schemas.microsoft.com/office/drawing/2014/main" id="{97499C24-2B12-427E-8C3B-66C16DF30394}"/>
              </a:ext>
            </a:extLst>
          </p:cNvPr>
          <p:cNvSpPr>
            <a:spLocks noGrp="1"/>
          </p:cNvSpPr>
          <p:nvPr>
            <p:ph sz="quarter" idx="13"/>
          </p:nvPr>
        </p:nvSpPr>
        <p:spPr>
          <a:xfrm>
            <a:off x="655638" y="1408113"/>
            <a:ext cx="4294314" cy="4819650"/>
          </a:xfrm>
        </p:spPr>
        <p:txBody>
          <a:bodyPr>
            <a:normAutofit fontScale="92500" lnSpcReduction="10000"/>
          </a:bodyPr>
          <a:lstStyle/>
          <a:p>
            <a:pPr marL="342900" lvl="0" indent="-342900">
              <a:buFont typeface="Arial" panose="020B0604020202020204" pitchFamily="34" charset="0"/>
              <a:buChar char="•"/>
            </a:pPr>
            <a:r>
              <a:rPr lang="en-US" dirty="0"/>
              <a:t>SharePoint Online uses throttling to maintain optimal performance and reliability of the SharePoint Online service. </a:t>
            </a:r>
            <a:endParaRPr lang="nb-NO" dirty="0"/>
          </a:p>
          <a:p>
            <a:pPr marL="342900" lvl="0" indent="-342900">
              <a:buFont typeface="Arial" panose="020B0604020202020204" pitchFamily="34" charset="0"/>
              <a:buChar char="•"/>
            </a:pPr>
            <a:r>
              <a:rPr lang="en-US" dirty="0"/>
              <a:t>Throttling prevents overuse of resources by limiting the number of user actions or concurrent calls (by script or code) allowed.</a:t>
            </a:r>
            <a:endParaRPr lang="nb-NO" dirty="0"/>
          </a:p>
          <a:p>
            <a:pPr marL="342900" lvl="0" indent="-342900">
              <a:buFont typeface="Arial" panose="020B0604020202020204" pitchFamily="34" charset="0"/>
              <a:buChar char="•"/>
            </a:pPr>
            <a:r>
              <a:rPr lang="en-US" dirty="0"/>
              <a:t>It is extremely rare for a user to get throttled in SharePoint Online. If you do get throttled, 99% of the time it is because of custom code. </a:t>
            </a:r>
            <a:endParaRPr lang="nb-NO" dirty="0"/>
          </a:p>
          <a:p>
            <a:endParaRPr lang="en-US" dirty="0"/>
          </a:p>
        </p:txBody>
      </p:sp>
      <p:pic>
        <p:nvPicPr>
          <p:cNvPr id="8" name="Content Placeholder 7">
            <a:extLst>
              <a:ext uri="{FF2B5EF4-FFF2-40B4-BE49-F238E27FC236}">
                <a16:creationId xmlns:a16="http://schemas.microsoft.com/office/drawing/2014/main" id="{67C34C65-74F4-472B-8E3A-64B5FAB1A7E6}"/>
              </a:ext>
            </a:extLst>
          </p:cNvPr>
          <p:cNvPicPr>
            <a:picLocks noGrp="1" noChangeAspect="1"/>
          </p:cNvPicPr>
          <p:nvPr>
            <p:ph sz="quarter" idx="14"/>
          </p:nvPr>
        </p:nvPicPr>
        <p:blipFill>
          <a:blip r:embed="rId3"/>
          <a:stretch>
            <a:fillRect/>
          </a:stretch>
        </p:blipFill>
        <p:spPr>
          <a:xfrm>
            <a:off x="4949952" y="1408113"/>
            <a:ext cx="5067046" cy="4819650"/>
          </a:xfrm>
        </p:spPr>
      </p:pic>
    </p:spTree>
    <p:extLst>
      <p:ext uri="{BB962C8B-B14F-4D97-AF65-F5344CB8AC3E}">
        <p14:creationId xmlns:p14="http://schemas.microsoft.com/office/powerpoint/2010/main" val="2505800081"/>
      </p:ext>
    </p:extLst>
  </p:cSld>
  <p:clrMapOvr>
    <a:masterClrMapping/>
  </p:clrMapOvr>
</p:sld>
</file>

<file path=ppt/slides/slide2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What happens when a user gets throttled  </a:t>
            </a:r>
          </a:p>
        </p:txBody>
      </p:sp>
      <p:sp>
        <p:nvSpPr>
          <p:cNvPr id="7" name="Text Placeholder 6">
            <a:extLst>
              <a:ext uri="{FF2B5EF4-FFF2-40B4-BE49-F238E27FC236}">
                <a16:creationId xmlns:a16="http://schemas.microsoft.com/office/drawing/2014/main" id="{4C4E7C2F-0D02-43F0-8767-CCFE8897D453}"/>
              </a:ext>
            </a:extLst>
          </p:cNvPr>
          <p:cNvSpPr>
            <a:spLocks noGrp="1"/>
          </p:cNvSpPr>
          <p:nvPr>
            <p:ph sz="quarter" idx="13"/>
          </p:nvPr>
        </p:nvSpPr>
        <p:spPr>
          <a:xfrm>
            <a:off x="655638" y="1408114"/>
            <a:ext cx="10880726" cy="4819650"/>
          </a:xfrm>
        </p:spPr>
        <p:txBody>
          <a:bodyPr>
            <a:normAutofit/>
          </a:bodyPr>
          <a:lstStyle/>
          <a:p>
            <a:r>
              <a:rPr lang="en-US" dirty="0"/>
              <a:t>When a user exceeds usage limits, SharePoint Online throttles any further requests from that user account for a short period. </a:t>
            </a:r>
          </a:p>
          <a:p>
            <a:r>
              <a:rPr lang="en-US" dirty="0"/>
              <a:t>All user actions are throttled while the throttle is in effect.</a:t>
            </a:r>
          </a:p>
          <a:p>
            <a:r>
              <a:rPr lang="en-US" dirty="0"/>
              <a:t>For requests that a user performs directly in the browser, SharePoint Online redirects you to the throttling information page, and the requests fail.</a:t>
            </a:r>
          </a:p>
          <a:p>
            <a:r>
              <a:rPr lang="en-US" dirty="0"/>
              <a:t>For all other requests, including CSOM or REST calls, SharePoint Online returns HTTP status code 429 ("Too many requests") or 503 ("Server Too Busy") and the requests will fail.</a:t>
            </a:r>
          </a:p>
        </p:txBody>
      </p:sp>
    </p:spTree>
    <p:extLst>
      <p:ext uri="{BB962C8B-B14F-4D97-AF65-F5344CB8AC3E}">
        <p14:creationId xmlns:p14="http://schemas.microsoft.com/office/powerpoint/2010/main" val="2604699341"/>
      </p:ext>
    </p:extLst>
  </p:cSld>
  <p:clrMapOvr>
    <a:masterClrMapping/>
  </p:clrMapOvr>
</p:sld>
</file>

<file path=ppt/slides/slide23.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Blocking</a:t>
            </a:r>
          </a:p>
        </p:txBody>
      </p:sp>
      <p:graphicFrame>
        <p:nvGraphicFramePr>
          <p:cNvPr id="9" name="Text Placeholder 6">
            <a:extLst>
              <a:ext uri="{FF2B5EF4-FFF2-40B4-BE49-F238E27FC236}">
                <a16:creationId xmlns:a16="http://schemas.microsoft.com/office/drawing/2014/main" id="{19329D0C-95AC-4696-AD41-FB968C58C147}"/>
              </a:ext>
            </a:extLst>
          </p:cNvPr>
          <p:cNvGraphicFramePr>
            <a:graphicFrameLocks noGrp="1"/>
          </p:cNvGraphicFramePr>
          <p:nvPr>
            <p:ph sz="quarter" idx="13"/>
            <p:extLst>
              <p:ext uri="{D42A27DB-BD31-4B8C-83A1-F6EECF244321}">
                <p14:modId xmlns:p14="http://schemas.microsoft.com/office/powerpoint/2010/main" val="4257306777"/>
              </p:ext>
            </p:extLst>
          </p:nvPr>
        </p:nvGraphicFramePr>
        <p:xfrm>
          <a:off x="655638" y="992406"/>
          <a:ext cx="10880726" cy="52353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51046907"/>
      </p:ext>
    </p:extLst>
  </p:cSld>
  <p:clrMapOvr>
    <a:masterClrMapping/>
  </p:clrMapOvr>
</p:sld>
</file>

<file path=ppt/slides/slide24.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How to avoid being throttled</a:t>
            </a:r>
          </a:p>
        </p:txBody>
      </p:sp>
      <p:graphicFrame>
        <p:nvGraphicFramePr>
          <p:cNvPr id="8" name="Content Placeholder 7">
            <a:extLst>
              <a:ext uri="{FF2B5EF4-FFF2-40B4-BE49-F238E27FC236}">
                <a16:creationId xmlns:a16="http://schemas.microsoft.com/office/drawing/2014/main" id="{F5EECEBE-20F0-416B-9CC7-350F035CE480}"/>
              </a:ext>
            </a:extLst>
          </p:cNvPr>
          <p:cNvGraphicFramePr>
            <a:graphicFrameLocks noGrp="1"/>
          </p:cNvGraphicFramePr>
          <p:nvPr>
            <p:ph sz="quarter" idx="13"/>
            <p:extLst>
              <p:ext uri="{D42A27DB-BD31-4B8C-83A1-F6EECF244321}">
                <p14:modId xmlns:p14="http://schemas.microsoft.com/office/powerpoint/2010/main" val="149219037"/>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17600528"/>
      </p:ext>
    </p:extLst>
  </p:cSld>
  <p:clrMapOvr>
    <a:masterClrMapping/>
  </p:clrMapOvr>
</p:sld>
</file>

<file path=ppt/slides/slide25.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dirty="0"/>
              <a:t>Why can’t you tell me the exact throttling limits</a:t>
            </a:r>
          </a:p>
        </p:txBody>
      </p:sp>
      <p:graphicFrame>
        <p:nvGraphicFramePr>
          <p:cNvPr id="9" name="Content Placeholder 8">
            <a:extLst>
              <a:ext uri="{FF2B5EF4-FFF2-40B4-BE49-F238E27FC236}">
                <a16:creationId xmlns:a16="http://schemas.microsoft.com/office/drawing/2014/main" id="{A1345F51-0EB9-4082-BF6C-5C179A56324D}"/>
              </a:ext>
            </a:extLst>
          </p:cNvPr>
          <p:cNvGraphicFramePr>
            <a:graphicFrameLocks noGrp="1"/>
          </p:cNvGraphicFramePr>
          <p:nvPr>
            <p:ph sz="quarter" idx="13"/>
            <p:extLst>
              <p:ext uri="{D42A27DB-BD31-4B8C-83A1-F6EECF244321}">
                <p14:modId xmlns:p14="http://schemas.microsoft.com/office/powerpoint/2010/main" val="1279827947"/>
              </p:ext>
            </p:extLst>
          </p:nvPr>
        </p:nvGraphicFramePr>
        <p:xfrm>
          <a:off x="655637" y="1626853"/>
          <a:ext cx="10880726" cy="35455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83100813"/>
      </p:ext>
    </p:extLst>
  </p:cSld>
  <p:clrMapOvr>
    <a:masterClrMapping/>
  </p:clrMapOvr>
</p:sld>
</file>

<file path=ppt/slides/slide27.xml><?xml version="1.0" encoding="utf-8"?>
<p:sld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2064640574"/>
              </p:ext>
            </p:extLst>
          </p:nvPr>
        </p:nvGraphicFramePr>
        <p:xfrm>
          <a:off x="655638" y="847800"/>
          <a:ext cx="10880725" cy="55521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a:xfrm>
            <a:off x="655638" y="320040"/>
            <a:ext cx="10880725" cy="461665"/>
          </a:xfrm>
        </p:spPr>
        <p:txBody>
          <a:bodyPr/>
          <a:lstStyle/>
          <a:p>
            <a:r>
              <a:rPr lang="en-US" dirty="0"/>
              <a:t>Knowledge Check</a:t>
            </a:r>
            <a:endParaRPr lang="nb-NO" dirty="0"/>
          </a:p>
        </p:txBody>
      </p:sp>
    </p:spTree>
    <p:extLst>
      <p:ext uri="{BB962C8B-B14F-4D97-AF65-F5344CB8AC3E}">
        <p14:creationId xmlns:p14="http://schemas.microsoft.com/office/powerpoint/2010/main" val="1019914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graphicEl>
                                              <a:dgm id="{ADB983CD-EF20-471C-964F-B520DCF4D3FE}"/>
                                            </p:graphicEl>
                                          </p:spTgt>
                                        </p:tgtEl>
                                        <p:attrNameLst>
                                          <p:attrName>style.visibility</p:attrName>
                                        </p:attrNameLst>
                                      </p:cBhvr>
                                      <p:to>
                                        <p:strVal val="visible"/>
                                      </p:to>
                                    </p:set>
                                    <p:anim calcmode="lin" valueType="num">
                                      <p:cBhvr additive="base">
                                        <p:cTn id="7" dur="500" fill="hold"/>
                                        <p:tgtEl>
                                          <p:spTgt spid="4">
                                            <p:graphicEl>
                                              <a:dgm id="{ADB983CD-EF20-471C-964F-B520DCF4D3FE}"/>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graphicEl>
                                              <a:dgm id="{ADB983CD-EF20-471C-964F-B520DCF4D3FE}"/>
                                            </p:graphic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4">
                                            <p:graphicEl>
                                              <a:dgm id="{67B7BF28-9EB4-4EAF-A69D-58B0FE84BB9E}"/>
                                            </p:graphicEl>
                                          </p:spTgt>
                                        </p:tgtEl>
                                        <p:attrNameLst>
                                          <p:attrName>style.visibility</p:attrName>
                                        </p:attrNameLst>
                                      </p:cBhvr>
                                      <p:to>
                                        <p:strVal val="visible"/>
                                      </p:to>
                                    </p:set>
                                    <p:anim calcmode="lin" valueType="num">
                                      <p:cBhvr additive="base">
                                        <p:cTn id="13" dur="500" fill="hold"/>
                                        <p:tgtEl>
                                          <p:spTgt spid="4">
                                            <p:graphicEl>
                                              <a:dgm id="{67B7BF28-9EB4-4EAF-A69D-58B0FE84BB9E}"/>
                                            </p:graphic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graphicEl>
                                              <a:dgm id="{67B7BF28-9EB4-4EAF-A69D-58B0FE84BB9E}"/>
                                            </p:graphic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
                                            <p:graphicEl>
                                              <a:dgm id="{FB9B9A09-DE7B-42EC-B9DE-EC481931C524}"/>
                                            </p:graphicEl>
                                          </p:spTgt>
                                        </p:tgtEl>
                                        <p:attrNameLst>
                                          <p:attrName>style.visibility</p:attrName>
                                        </p:attrNameLst>
                                      </p:cBhvr>
                                      <p:to>
                                        <p:strVal val="visible"/>
                                      </p:to>
                                    </p:set>
                                    <p:anim calcmode="lin" valueType="num">
                                      <p:cBhvr additive="base">
                                        <p:cTn id="19" dur="500" fill="hold"/>
                                        <p:tgtEl>
                                          <p:spTgt spid="4">
                                            <p:graphicEl>
                                              <a:dgm id="{FB9B9A09-DE7B-42EC-B9DE-EC481931C524}"/>
                                            </p:graphicEl>
                                          </p:spTgt>
                                        </p:tgtEl>
                                        <p:attrNameLst>
                                          <p:attrName>ppt_x</p:attrName>
                                        </p:attrNameLst>
                                      </p:cBhvr>
                                      <p:tavLst>
                                        <p:tav tm="0">
                                          <p:val>
                                            <p:strVal val="#ppt_x"/>
                                          </p:val>
                                        </p:tav>
                                        <p:tav tm="100000">
                                          <p:val>
                                            <p:strVal val="#ppt_x"/>
                                          </p:val>
                                        </p:tav>
                                      </p:tavLst>
                                    </p:anim>
                                    <p:anim calcmode="lin" valueType="num">
                                      <p:cBhvr additive="base">
                                        <p:cTn id="20" dur="500" fill="hold"/>
                                        <p:tgtEl>
                                          <p:spTgt spid="4">
                                            <p:graphicEl>
                                              <a:dgm id="{FB9B9A09-DE7B-42EC-B9DE-EC481931C524}"/>
                                            </p:graphic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4">
                                            <p:graphicEl>
                                              <a:dgm id="{FB3F1349-3785-4E6E-9708-EBE55C1DC01C}"/>
                                            </p:graphicEl>
                                          </p:spTgt>
                                        </p:tgtEl>
                                        <p:attrNameLst>
                                          <p:attrName>style.visibility</p:attrName>
                                        </p:attrNameLst>
                                      </p:cBhvr>
                                      <p:to>
                                        <p:strVal val="visible"/>
                                      </p:to>
                                    </p:set>
                                    <p:anim calcmode="lin" valueType="num">
                                      <p:cBhvr additive="base">
                                        <p:cTn id="25" dur="500" fill="hold"/>
                                        <p:tgtEl>
                                          <p:spTgt spid="4">
                                            <p:graphicEl>
                                              <a:dgm id="{FB3F1349-3785-4E6E-9708-EBE55C1DC01C}"/>
                                            </p:graphicEl>
                                          </p:spTgt>
                                        </p:tgtEl>
                                        <p:attrNameLst>
                                          <p:attrName>ppt_x</p:attrName>
                                        </p:attrNameLst>
                                      </p:cBhvr>
                                      <p:tavLst>
                                        <p:tav tm="0">
                                          <p:val>
                                            <p:strVal val="#ppt_x"/>
                                          </p:val>
                                        </p:tav>
                                        <p:tav tm="100000">
                                          <p:val>
                                            <p:strVal val="#ppt_x"/>
                                          </p:val>
                                        </p:tav>
                                      </p:tavLst>
                                    </p:anim>
                                    <p:anim calcmode="lin" valueType="num">
                                      <p:cBhvr additive="base">
                                        <p:cTn id="26" dur="500" fill="hold"/>
                                        <p:tgtEl>
                                          <p:spTgt spid="4">
                                            <p:graphicEl>
                                              <a:dgm id="{FB3F1349-3785-4E6E-9708-EBE55C1DC01C}"/>
                                            </p:graphic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4">
                                            <p:graphicEl>
                                              <a:dgm id="{BD4E8ECE-7125-4BA4-A023-9F900BC521BD}"/>
                                            </p:graphicEl>
                                          </p:spTgt>
                                        </p:tgtEl>
                                        <p:attrNameLst>
                                          <p:attrName>style.visibility</p:attrName>
                                        </p:attrNameLst>
                                      </p:cBhvr>
                                      <p:to>
                                        <p:strVal val="visible"/>
                                      </p:to>
                                    </p:set>
                                    <p:anim calcmode="lin" valueType="num">
                                      <p:cBhvr additive="base">
                                        <p:cTn id="31" dur="500" fill="hold"/>
                                        <p:tgtEl>
                                          <p:spTgt spid="4">
                                            <p:graphicEl>
                                              <a:dgm id="{BD4E8ECE-7125-4BA4-A023-9F900BC521BD}"/>
                                            </p:graphicEl>
                                          </p:spTgt>
                                        </p:tgtEl>
                                        <p:attrNameLst>
                                          <p:attrName>ppt_x</p:attrName>
                                        </p:attrNameLst>
                                      </p:cBhvr>
                                      <p:tavLst>
                                        <p:tav tm="0">
                                          <p:val>
                                            <p:strVal val="#ppt_x"/>
                                          </p:val>
                                        </p:tav>
                                        <p:tav tm="100000">
                                          <p:val>
                                            <p:strVal val="#ppt_x"/>
                                          </p:val>
                                        </p:tav>
                                      </p:tavLst>
                                    </p:anim>
                                    <p:anim calcmode="lin" valueType="num">
                                      <p:cBhvr additive="base">
                                        <p:cTn id="32" dur="500" fill="hold"/>
                                        <p:tgtEl>
                                          <p:spTgt spid="4">
                                            <p:graphicEl>
                                              <a:dgm id="{BD4E8ECE-7125-4BA4-A023-9F900BC521BD}"/>
                                            </p:graphic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4">
                                            <p:graphicEl>
                                              <a:dgm id="{19D83D99-684B-4D85-A42D-E1927F006482}"/>
                                            </p:graphicEl>
                                          </p:spTgt>
                                        </p:tgtEl>
                                        <p:attrNameLst>
                                          <p:attrName>style.visibility</p:attrName>
                                        </p:attrNameLst>
                                      </p:cBhvr>
                                      <p:to>
                                        <p:strVal val="visible"/>
                                      </p:to>
                                    </p:set>
                                    <p:anim calcmode="lin" valueType="num">
                                      <p:cBhvr additive="base">
                                        <p:cTn id="37" dur="500" fill="hold"/>
                                        <p:tgtEl>
                                          <p:spTgt spid="4">
                                            <p:graphicEl>
                                              <a:dgm id="{19D83D99-684B-4D85-A42D-E1927F006482}"/>
                                            </p:graphicEl>
                                          </p:spTgt>
                                        </p:tgtEl>
                                        <p:attrNameLst>
                                          <p:attrName>ppt_x</p:attrName>
                                        </p:attrNameLst>
                                      </p:cBhvr>
                                      <p:tavLst>
                                        <p:tav tm="0">
                                          <p:val>
                                            <p:strVal val="#ppt_x"/>
                                          </p:val>
                                        </p:tav>
                                        <p:tav tm="100000">
                                          <p:val>
                                            <p:strVal val="#ppt_x"/>
                                          </p:val>
                                        </p:tav>
                                      </p:tavLst>
                                    </p:anim>
                                    <p:anim calcmode="lin" valueType="num">
                                      <p:cBhvr additive="base">
                                        <p:cTn id="38" dur="500" fill="hold"/>
                                        <p:tgtEl>
                                          <p:spTgt spid="4">
                                            <p:graphicEl>
                                              <a:dgm id="{19D83D99-684B-4D85-A42D-E1927F006482}"/>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2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655320" y="630936"/>
            <a:ext cx="3114650" cy="5596826"/>
          </a:xfrm>
        </p:spPr>
        <p:txBody>
          <a:bodyPr/>
          <a:lstStyle/>
          <a:p>
            <a:r>
              <a:rPr lang="en-US" dirty="0"/>
              <a:t>Summary</a:t>
            </a:r>
          </a:p>
        </p:txBody>
      </p:sp>
      <p:sp>
        <p:nvSpPr>
          <p:cNvPr id="4" name="Text Placeholder 3">
            <a:extLst>
              <a:ext uri="{FF2B5EF4-FFF2-40B4-BE49-F238E27FC236}">
                <a16:creationId xmlns:a16="http://schemas.microsoft.com/office/drawing/2014/main" id="{28C1D58E-226B-4967-8F89-DA047BC78985}"/>
              </a:ext>
            </a:extLst>
          </p:cNvPr>
          <p:cNvSpPr>
            <a:spLocks noGrp="1"/>
          </p:cNvSpPr>
          <p:nvPr>
            <p:ph type="body" sz="quarter" idx="10"/>
          </p:nvPr>
        </p:nvSpPr>
        <p:spPr>
          <a:xfrm>
            <a:off x="5008563" y="630238"/>
            <a:ext cx="6527800" cy="5597525"/>
          </a:xfrm>
        </p:spPr>
        <p:txBody>
          <a:bodyPr/>
          <a:lstStyle/>
          <a:p>
            <a:pPr lvl="0"/>
            <a:r>
              <a:rPr lang="en-US" dirty="0"/>
              <a:t>In this lesson, you learned how to: </a:t>
            </a:r>
            <a:endParaRPr lang="nb-NO" dirty="0"/>
          </a:p>
          <a:p>
            <a:pPr lvl="1"/>
            <a:r>
              <a:rPr lang="nb-NO" dirty="0"/>
              <a:t>Understand common causes of SharePoint Online page load performance issues</a:t>
            </a:r>
          </a:p>
          <a:p>
            <a:pPr lvl="1"/>
            <a:r>
              <a:rPr lang="nb-NO" dirty="0"/>
              <a:t>Understand best practice guidence and recommendations for achieving optimal SharePoint Online page performance</a:t>
            </a:r>
          </a:p>
          <a:p>
            <a:pPr lvl="1"/>
            <a:r>
              <a:rPr lang="nb-NO" dirty="0"/>
              <a:t>Understand how to avoid being throttled</a:t>
            </a:r>
          </a:p>
          <a:p>
            <a:endParaRPr lang="en-US" dirty="0"/>
          </a:p>
        </p:txBody>
      </p:sp>
    </p:spTree>
    <p:extLst>
      <p:ext uri="{BB962C8B-B14F-4D97-AF65-F5344CB8AC3E}">
        <p14:creationId xmlns:p14="http://schemas.microsoft.com/office/powerpoint/2010/main" val="1058033817"/>
      </p:ext>
    </p:extLst>
  </p:cSld>
  <p:clrMapOvr>
    <a:masterClrMapping/>
  </p:clrMapOvr>
</p:sld>
</file>

<file path=ppt/slides/slide29.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09563290"/>
      </p:ext>
    </p:extLst>
  </p:cSld>
  <p:clrMapOvr>
    <a:masterClrMapping/>
  </p:clrMapOvr>
</p:sld>
</file>

<file path=ppt/slides/slide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3BF9DE4-C62D-4C08-AC10-9804135FCEBE}"/>
              </a:ext>
            </a:extLst>
          </p:cNvPr>
          <p:cNvSpPr>
            <a:spLocks noGrp="1"/>
          </p:cNvSpPr>
          <p:nvPr>
            <p:ph type="body" sz="quarter" idx="11"/>
          </p:nvPr>
        </p:nvSpPr>
        <p:spPr>
          <a:xfrm>
            <a:off x="5008563" y="630238"/>
            <a:ext cx="6527800" cy="5597524"/>
          </a:xfrm>
        </p:spPr>
        <p:txBody>
          <a:bodyPr/>
          <a:lstStyle/>
          <a:p>
            <a:pPr marL="0" lvl="0" indent="0">
              <a:buNone/>
            </a:pPr>
            <a:r>
              <a:rPr lang="en-US" dirty="0"/>
              <a:t>After completing this section, you will: </a:t>
            </a:r>
            <a:endParaRPr lang="nb-NO" dirty="0"/>
          </a:p>
          <a:p>
            <a:pPr lvl="1"/>
            <a:r>
              <a:rPr lang="nb-NO" dirty="0"/>
              <a:t>Understand common causes of SharePoint Online page load performance issues</a:t>
            </a:r>
          </a:p>
          <a:p>
            <a:pPr lvl="1"/>
            <a:r>
              <a:rPr lang="nb-NO" dirty="0"/>
              <a:t>Understand best practice guidence and recommendations for achieving optimal SharePoint Online page performance</a:t>
            </a:r>
          </a:p>
          <a:p>
            <a:pPr lvl="1"/>
            <a:r>
              <a:rPr lang="nb-NO" dirty="0"/>
              <a:t>Understand how to avoid being throttled</a:t>
            </a:r>
          </a:p>
          <a:p>
            <a:endParaRPr lang="en-US" dirty="0"/>
          </a:p>
        </p:txBody>
      </p:sp>
      <p:sp>
        <p:nvSpPr>
          <p:cNvPr id="4" name="Title 3"/>
          <p:cNvSpPr>
            <a:spLocks noGrp="1"/>
          </p:cNvSpPr>
          <p:nvPr>
            <p:ph type="title"/>
          </p:nvPr>
        </p:nvSpPr>
        <p:spPr>
          <a:xfrm>
            <a:off x="655639" y="630238"/>
            <a:ext cx="3152330" cy="5597524"/>
          </a:xfrm>
        </p:spPr>
        <p:txBody>
          <a:bodyPr/>
          <a:lstStyle/>
          <a:p>
            <a:r>
              <a:rPr lang="en-US" dirty="0"/>
              <a:t>Objectives</a:t>
            </a:r>
          </a:p>
        </p:txBody>
      </p:sp>
    </p:spTree>
    <p:extLst>
      <p:ext uri="{BB962C8B-B14F-4D97-AF65-F5344CB8AC3E}">
        <p14:creationId xmlns:p14="http://schemas.microsoft.com/office/powerpoint/2010/main" val="2250362114"/>
      </p:ext>
    </p:extLst>
  </p:cSld>
  <p:clrMapOvr>
    <a:masterClrMapping/>
  </p:clrMapOvr>
</p:sld>
</file>

<file path=ppt/slides/slide5.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Common causes of slow page load performance</a:t>
            </a:r>
            <a:endParaRPr lang="nb-NO" sz="4400" dirty="0"/>
          </a:p>
        </p:txBody>
      </p:sp>
    </p:spTree>
    <p:extLst>
      <p:ext uri="{BB962C8B-B14F-4D97-AF65-F5344CB8AC3E}">
        <p14:creationId xmlns:p14="http://schemas.microsoft.com/office/powerpoint/2010/main" val="939130513"/>
      </p:ext>
    </p:extLst>
  </p:cSld>
  <p:clrMapOvr>
    <a:masterClrMapping/>
  </p:clrMapOvr>
</p:sld>
</file>

<file path=ppt/slides/slide6.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Custom requests to SharePoint</a:t>
            </a:r>
          </a:p>
        </p:txBody>
      </p:sp>
      <p:graphicFrame>
        <p:nvGraphicFramePr>
          <p:cNvPr id="9" name="Content Placeholder 8">
            <a:extLst>
              <a:ext uri="{FF2B5EF4-FFF2-40B4-BE49-F238E27FC236}">
                <a16:creationId xmlns:a16="http://schemas.microsoft.com/office/drawing/2014/main" id="{47C75449-E48F-4118-809E-05BEFB967679}"/>
              </a:ext>
            </a:extLst>
          </p:cNvPr>
          <p:cNvGraphicFramePr>
            <a:graphicFrameLocks noGrp="1"/>
          </p:cNvGraphicFramePr>
          <p:nvPr>
            <p:ph sz="quarter" idx="13"/>
            <p:extLst>
              <p:ext uri="{D42A27DB-BD31-4B8C-83A1-F6EECF244321}">
                <p14:modId xmlns:p14="http://schemas.microsoft.com/office/powerpoint/2010/main" val="1238201787"/>
              </p:ext>
            </p:extLst>
          </p:nvPr>
        </p:nvGraphicFramePr>
        <p:xfrm>
          <a:off x="1305879" y="1473168"/>
          <a:ext cx="9467786" cy="39116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36604304"/>
      </p:ext>
    </p:extLst>
  </p:cSld>
  <p:clrMapOvr>
    <a:masterClrMapping/>
  </p:clrMapOvr>
</p:sld>
</file>

<file path=ppt/slides/slide7.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Recommendations – Custom requests</a:t>
            </a:r>
          </a:p>
        </p:txBody>
      </p:sp>
      <p:graphicFrame>
        <p:nvGraphicFramePr>
          <p:cNvPr id="8" name="Content Placeholder 7">
            <a:extLst>
              <a:ext uri="{FF2B5EF4-FFF2-40B4-BE49-F238E27FC236}">
                <a16:creationId xmlns:a16="http://schemas.microsoft.com/office/drawing/2014/main" id="{B24DF51C-FD51-4821-A29C-449E7E09D040}"/>
              </a:ext>
            </a:extLst>
          </p:cNvPr>
          <p:cNvGraphicFramePr>
            <a:graphicFrameLocks noGrp="1"/>
          </p:cNvGraphicFramePr>
          <p:nvPr>
            <p:ph sz="quarter" idx="13"/>
            <p:extLst>
              <p:ext uri="{D42A27DB-BD31-4B8C-83A1-F6EECF244321}">
                <p14:modId xmlns:p14="http://schemas.microsoft.com/office/powerpoint/2010/main" val="2803765309"/>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73238821"/>
      </p:ext>
    </p:extLst>
  </p:cSld>
  <p:clrMapOvr>
    <a:masterClrMapping/>
  </p:clrMapOvr>
</p:sld>
</file>

<file path=ppt/slides/slide8.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Images</a:t>
            </a:r>
          </a:p>
        </p:txBody>
      </p:sp>
      <p:graphicFrame>
        <p:nvGraphicFramePr>
          <p:cNvPr id="8" name="Content Placeholder 7">
            <a:extLst>
              <a:ext uri="{FF2B5EF4-FFF2-40B4-BE49-F238E27FC236}">
                <a16:creationId xmlns:a16="http://schemas.microsoft.com/office/drawing/2014/main" id="{4D71A370-7F7E-4B66-8771-99BF742DC7B2}"/>
              </a:ext>
            </a:extLst>
          </p:cNvPr>
          <p:cNvGraphicFramePr>
            <a:graphicFrameLocks noGrp="1"/>
          </p:cNvGraphicFramePr>
          <p:nvPr>
            <p:ph sz="quarter" idx="13"/>
            <p:extLst>
              <p:ext uri="{D42A27DB-BD31-4B8C-83A1-F6EECF244321}">
                <p14:modId xmlns:p14="http://schemas.microsoft.com/office/powerpoint/2010/main" val="1080387254"/>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78454372"/>
      </p:ext>
    </p:extLst>
  </p:cSld>
  <p:clrMapOvr>
    <a:masterClrMapping/>
  </p:clrMapOvr>
</p:sld>
</file>

<file path=ppt/slides/slide9.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Recommendations - Images</a:t>
            </a:r>
          </a:p>
        </p:txBody>
      </p:sp>
      <p:graphicFrame>
        <p:nvGraphicFramePr>
          <p:cNvPr id="8" name="Content Placeholder 7">
            <a:extLst>
              <a:ext uri="{FF2B5EF4-FFF2-40B4-BE49-F238E27FC236}">
                <a16:creationId xmlns:a16="http://schemas.microsoft.com/office/drawing/2014/main" id="{5804948A-14EA-40F1-BBB1-104937F9D020}"/>
              </a:ext>
            </a:extLst>
          </p:cNvPr>
          <p:cNvGraphicFramePr>
            <a:graphicFrameLocks noGrp="1"/>
          </p:cNvGraphicFramePr>
          <p:nvPr>
            <p:ph sz="quarter" idx="13"/>
            <p:extLst>
              <p:ext uri="{D42A27DB-BD31-4B8C-83A1-F6EECF244321}">
                <p14:modId xmlns:p14="http://schemas.microsoft.com/office/powerpoint/2010/main" val="768027779"/>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61348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79e94fed-3e47-41f6-9bd1-fd63e71077b5"/>
  <p:tag name="MIO_EKGUID" val="737937aa-7f53-4f22-bd6c-c5fb8f6b2adf"/>
  <p:tag name="MIO_UPDATE" val="True"/>
  <p:tag name="MIO_VERSION" val="27.09.2019 11:12:27"/>
  <p:tag name="MIO_DBID" val="12B0C59E-2253-4124-A5E9-470ADF4CB168"/>
  <p:tag name="MIO_LASTDOWNLOADED" val="30.03.2020 17:36:16"/>
  <p:tag name="MIO_OBJECTNAME" val="M365CO19_ENT_Android_236"/>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DBID" val="12B0C59E-2253-4124-A5E9-470ADF4CB168"/>
  <p:tag name="MIO_LASTDOWNLOADED" val="30.09.2019 15:18:05"/>
  <p:tag name="MIO_OBJECTNAME" val="EDU19_HigherEdComputerLab_007"/>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Presentation1" id="{D657B038-B937-455B-AEE0-F7048674705F}" vid="{2CD38098-37E2-4B89-9F4F-C7CF02D8E83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49CF4B3973DE3499364CBABEEB8439F" ma:contentTypeVersion="20" ma:contentTypeDescription="Create a new document." ma:contentTypeScope="" ma:versionID="958c7793e931dcedc4086b527933b297">
  <xsd:schema xmlns:xsd="http://www.w3.org/2001/XMLSchema" xmlns:xs="http://www.w3.org/2001/XMLSchema" xmlns:p="http://schemas.microsoft.com/office/2006/metadata/properties" xmlns:ns1="http://schemas.microsoft.com/sharepoint/v3" xmlns:ns2="3804da39-4668-43b0-b740-91cac2435732" xmlns:ns3="fe98aad2-1487-46eb-a06a-887f57cb5a45" xmlns:ns4="230e9df3-be65-4c73-a93b-d1236ebd677e" targetNamespace="http://schemas.microsoft.com/office/2006/metadata/properties" ma:root="true" ma:fieldsID="2382d0c9829fd20fb48095912bde3ef3" ns1:_="" ns2:_="" ns3:_="" ns4:_="">
    <xsd:import namespace="http://schemas.microsoft.com/sharepoint/v3"/>
    <xsd:import namespace="3804da39-4668-43b0-b740-91cac2435732"/>
    <xsd:import namespace="fe98aad2-1487-46eb-a06a-887f57cb5a45"/>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4:TaxCatchAll" minOccurs="0"/>
                <xsd:element ref="ns1:_ip_UnifiedCompliancePolicyProperties" minOccurs="0"/>
                <xsd:element ref="ns1:_ip_UnifiedCompliancePolicyUIAction" minOccurs="0"/>
                <xsd:element ref="ns2:MediaServiceSearchProperties" minOccurs="0"/>
                <xsd:element ref="ns2:MediaServiceDocTags"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804da39-4668-43b0-b740-91cac24357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DocTags" ma:index="24" nillable="true" ma:displayName="MediaServiceDocTags" ma:hidden="true" ma:internalName="MediaServiceDocTags" ma:readOnly="true">
      <xsd:simpleType>
        <xsd:restriction base="dms:Note"/>
      </xsd:simpleType>
    </xsd:element>
    <xsd:element name="MediaLengthInSeconds" ma:index="25" nillable="true" ma:displayName="MediaLengthInSeconds" ma:hidden="true" ma:internalName="MediaLengthInSeconds" ma:readOnly="true">
      <xsd:simpleType>
        <xsd:restriction base="dms:Unknown"/>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98aad2-1487-46eb-a06a-887f57cb5a4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f33aa8b5-bc81-4d5b-9d81-f0b8a1f9b595}" ma:internalName="TaxCatchAll" ma:showField="CatchAllData" ma:web="fe98aad2-1487-46eb-a06a-887f57cb5a4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3804da39-4668-43b0-b740-91cac2435732">
      <Terms xmlns="http://schemas.microsoft.com/office/infopath/2007/PartnerControls"/>
    </lcf76f155ced4ddcb4097134ff3c332f>
    <SharedWithUsers xmlns="fe98aad2-1487-46eb-a06a-887f57cb5a45">
      <UserInfo>
        <DisplayName/>
        <AccountId xsi:nil="true"/>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D45F071-79B9-41A7-8F9F-7923875206D1}"/>
</file>

<file path=customXml/itemProps2.xml><?xml version="1.0" encoding="utf-8"?>
<ds:datastoreItem xmlns:ds="http://schemas.openxmlformats.org/officeDocument/2006/customXml" ds:itemID="{D8E476C7-C136-4DBE-B22B-6FB93D21E089}">
  <ds:schemaRefs>
    <ds:schemaRef ds:uri="http://schemas.microsoft.com/office/2006/metadata/properties"/>
    <ds:schemaRef ds:uri="http://schemas.microsoft.com/office/infopath/2007/PartnerControls"/>
    <ds:schemaRef ds:uri="http://schemas.microsoft.com/sharepoint/v3"/>
    <ds:schemaRef ds:uri="230e9df3-be65-4c73-a93b-d1236ebd677e"/>
    <ds:schemaRef ds:uri="3804da39-4668-43b0-b740-91cac2435732"/>
    <ds:schemaRef ds:uri="fe98aad2-1487-46eb-a06a-887f57cb5a45"/>
  </ds:schemaRefs>
</ds:datastoreItem>
</file>

<file path=customXml/itemProps3.xml><?xml version="1.0" encoding="utf-8"?>
<ds:datastoreItem xmlns:ds="http://schemas.openxmlformats.org/officeDocument/2006/customXml" ds:itemID="{7C488CB8-E1E2-4FE2-88D4-D9EB2B0F7AE9}">
  <ds:schemaRefs>
    <ds:schemaRef ds:uri="http://schemas.microsoft.com/sharepoint/v3/contenttype/forms"/>
  </ds:schemaRefs>
</ds:datastoreItem>
</file>

<file path=docMetadata/LabelInfo.xml><?xml version="1.0" encoding="utf-8"?>
<clbl:labelList xmlns:clbl="http://schemas.microsoft.com/office/2020/mipLabelMetadata">
  <clbl:label id="{1a19d03a-48bc-4359-8038-5b5f6d5847c3}"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Dark Blue</Template>
  <TotalTime>0</TotalTime>
  <Words>3818</Words>
  <Application>Microsoft Office PowerPoint</Application>
  <PresentationFormat>Widescreen</PresentationFormat>
  <Paragraphs>368</Paragraphs>
  <Slides>29</Slides>
  <Notes>28</Notes>
  <HiddenSlides>2</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29</vt:i4>
      </vt:variant>
    </vt:vector>
  </HeadingPairs>
  <TitlesOfParts>
    <vt:vector size="41" baseType="lpstr">
      <vt:lpstr>&amp;quot</vt:lpstr>
      <vt:lpstr>Arial</vt:lpstr>
      <vt:lpstr>Calibri</vt:lpstr>
      <vt:lpstr>Calibri Light</vt:lpstr>
      <vt:lpstr>Comic Sans MS</vt:lpstr>
      <vt:lpstr>Consolas</vt:lpstr>
      <vt:lpstr>helvetica</vt:lpstr>
      <vt:lpstr>Segoe UI</vt:lpstr>
      <vt:lpstr>Segoe UI Light</vt:lpstr>
      <vt:lpstr>Segoe UI Semibold</vt:lpstr>
      <vt:lpstr>Wingdings</vt:lpstr>
      <vt:lpstr>Dark Blue</vt:lpstr>
      <vt:lpstr>SharePoint Online Page Load Performance</vt:lpstr>
      <vt:lpstr>PowerPoint Presentation</vt:lpstr>
      <vt:lpstr>Students: How to View This Presentation</vt:lpstr>
      <vt:lpstr>Objectives</vt:lpstr>
      <vt:lpstr>Common causes of slow page load performance</vt:lpstr>
      <vt:lpstr>Custom requests to SharePoint</vt:lpstr>
      <vt:lpstr>Recommendations – Custom requests</vt:lpstr>
      <vt:lpstr>Images</vt:lpstr>
      <vt:lpstr>Recommendations - Images</vt:lpstr>
      <vt:lpstr>Recommendations - Site structure </vt:lpstr>
      <vt:lpstr>Recommendations - Site navigation</vt:lpstr>
      <vt:lpstr>Page Optimization Rules 101</vt:lpstr>
      <vt:lpstr>Page Optimization Rules 101</vt:lpstr>
      <vt:lpstr>Page Optimization Rules 101</vt:lpstr>
      <vt:lpstr>Network Optimization</vt:lpstr>
      <vt:lpstr>Traditional connectivity</vt:lpstr>
      <vt:lpstr>Bringing SharePoint Online to users</vt:lpstr>
      <vt:lpstr>Direct Egress to Microsoft</vt:lpstr>
      <vt:lpstr>PowerPoint Presentation</vt:lpstr>
      <vt:lpstr>Avoid throttling</vt:lpstr>
      <vt:lpstr>What is throttling?</vt:lpstr>
      <vt:lpstr>What happens when a user gets throttled  </vt:lpstr>
      <vt:lpstr>Blocking</vt:lpstr>
      <vt:lpstr>How to avoid being throttled</vt:lpstr>
      <vt:lpstr>Why can’t you tell me the exact throttling limits</vt:lpstr>
      <vt:lpstr>Demonstration</vt:lpstr>
      <vt:lpstr>Knowledge Check</vt:lpstr>
      <vt:lpstr>Summary</vt:lpstr>
      <vt:lpstr>PowerPoint Presentation</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Office 365 SharePoint Online: Administration and Configuration</dc:title>
  <dc:creator>mip_noreply@microsoft.com</dc:creator>
  <lastModifiedBy>mip_noreply@microsoft.com</lastModifiedBy>
  <revision>1</revision>
  <dcterms:created xsi:type="dcterms:W3CDTF">2021-06-30T02:38:09.0000000Z</dcterms:created>
  <dcterms:modified xsi:type="dcterms:W3CDTF">2023-01-08T06:35:34.0000000Z</dcterms:modified>
  <keywords>20230813.3</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ContentTypeId">
    <vt:lpwstr>0x010100749CF4B3973DE3499364CBABEEB8439F</vt:lpwstr>
  </op:property>
  <op:property fmtid="{D5CDD505-2E9C-101B-9397-08002B2CF9AE}" pid="3" name="MediaServiceImageTags">
    <vt:lpwstr/>
  </op:property>
  <op:property fmtid="{D5CDD505-2E9C-101B-9397-08002B2CF9AE}" pid="4" name="Order">
    <vt:r8>366400</vt:r8>
  </op:property>
  <op:property fmtid="{D5CDD505-2E9C-101B-9397-08002B2CF9AE}" pid="5" name="xd_ProgID">
    <vt:lpwstr/>
  </op:property>
  <op:property fmtid="{D5CDD505-2E9C-101B-9397-08002B2CF9AE}" pid="6" name="_SourceUrl">
    <vt:lpwstr/>
  </op:property>
  <op:property fmtid="{D5CDD505-2E9C-101B-9397-08002B2CF9AE}" pid="7" name="_SharedFileIndex">
    <vt:lpwstr/>
  </op:property>
  <op:property fmtid="{D5CDD505-2E9C-101B-9397-08002B2CF9AE}" pid="8" name="TemplateUrl">
    <vt:lpwstr/>
  </op:property>
  <op:property fmtid="{D5CDD505-2E9C-101B-9397-08002B2CF9AE}" pid="9" name="ComplianceAssetId">
    <vt:lpwstr/>
  </op:property>
  <op:property fmtid="{D5CDD505-2E9C-101B-9397-08002B2CF9AE}" pid="10" name="_ExtendedDescription">
    <vt:lpwstr/>
  </op:property>
  <op:property fmtid="{D5CDD505-2E9C-101B-9397-08002B2CF9AE}" pid="11" name="TriggerFlowInfo">
    <vt:lpwstr/>
  </op:property>
  <op:property fmtid="{D5CDD505-2E9C-101B-9397-08002B2CF9AE}" pid="12" name="xd_Signature">
    <vt:bool>false</vt:bool>
  </op:property>
</op:Properties>
</file>